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68" r:id="rId3"/>
    <p:sldId id="261" r:id="rId4"/>
    <p:sldId id="269" r:id="rId5"/>
    <p:sldId id="267" r:id="rId6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dchinskaya, Anna" initials="RA" lastIdx="1" clrIdx="0">
    <p:extLst>
      <p:ext uri="{19B8F6BF-5375-455C-9EA6-DF929625EA0E}">
        <p15:presenceInfo xmlns:p15="http://schemas.microsoft.com/office/powerpoint/2012/main" userId="S-1-5-21-3669688425-264421355-3509485782-369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00" autoAdjust="0"/>
    <p:restoredTop sz="94660"/>
  </p:normalViewPr>
  <p:slideViewPr>
    <p:cSldViewPr snapToGrid="0">
      <p:cViewPr varScale="1">
        <p:scale>
          <a:sx n="74" d="100"/>
          <a:sy n="74" d="100"/>
        </p:scale>
        <p:origin x="114" y="3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NULL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NULL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NULL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NULL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NULL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NULL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NULL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NULL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NUL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NULL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NUL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NUL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NUL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NUL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89" name="Picture 217" descr="K:\Mann + Hummel\03_Vorlagen\03_PowerPoint\input\MF_0296TF_1_CMYK_AA_O_1111_klein.jp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1748" y="1787398"/>
            <a:ext cx="3379056" cy="5070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2" name="Objekt 2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5519887" y="2492896"/>
            <a:ext cx="5327851" cy="936104"/>
          </a:xfrm>
          <a:noFill/>
        </p:spPr>
        <p:txBody>
          <a:bodyPr wrap="square" lIns="0" tIns="0" rIns="0" anchor="b">
            <a:noAutofit/>
          </a:bodyPr>
          <a:lstStyle>
            <a:lvl1pPr>
              <a:defRPr sz="3199" b="1" baseline="0"/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520034" y="4437113"/>
            <a:ext cx="5326495" cy="288925"/>
          </a:xfrm>
        </p:spPr>
        <p:txBody>
          <a:bodyPr wrap="square" lIns="0" tIns="0" rIns="0" anchor="ctr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spcAft>
                <a:spcPts val="0"/>
              </a:spcAft>
              <a:buNone/>
              <a:defRPr sz="1400"/>
            </a:lvl2pPr>
            <a:lvl3pPr marL="0" indent="0">
              <a:spcAft>
                <a:spcPts val="0"/>
              </a:spcAft>
              <a:buNone/>
              <a:defRPr sz="1400"/>
            </a:lvl3pPr>
            <a:lvl4pPr marL="0" indent="0">
              <a:spcAft>
                <a:spcPts val="0"/>
              </a:spcAft>
              <a:buNone/>
              <a:defRPr sz="1400"/>
            </a:lvl4pPr>
            <a:lvl5pPr marL="0" indent="0">
              <a:spcAft>
                <a:spcPts val="0"/>
              </a:spcAft>
              <a:buNone/>
              <a:defRPr sz="1400"/>
            </a:lvl5pPr>
            <a:lvl6pPr marL="0" indent="0">
              <a:spcAft>
                <a:spcPts val="0"/>
              </a:spcAft>
              <a:buNone/>
              <a:defRPr sz="1400"/>
            </a:lvl6pPr>
            <a:lvl7pPr marL="0" indent="0">
              <a:spcAft>
                <a:spcPts val="0"/>
              </a:spcAft>
              <a:buNone/>
              <a:defRPr sz="1400"/>
            </a:lvl7pPr>
            <a:lvl8pPr marL="0" indent="0">
              <a:spcAft>
                <a:spcPts val="0"/>
              </a:spcAft>
              <a:buNone/>
              <a:defRPr sz="1400"/>
            </a:lvl8pPr>
            <a:lvl9pPr marL="0" indent="0">
              <a:spcAft>
                <a:spcPts val="0"/>
              </a:spcAft>
              <a:buNone/>
              <a:defRPr sz="1400"/>
            </a:lvl9pPr>
          </a:lstStyle>
          <a:p>
            <a:pPr lvl="0"/>
            <a:r>
              <a:rPr lang="en-US" noProof="0" dirty="0" smtClean="0"/>
              <a:t>Dat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519887" y="3933056"/>
            <a:ext cx="5327851" cy="504056"/>
          </a:xfrm>
        </p:spPr>
        <p:txBody>
          <a:bodyPr wrap="square" lIns="0" tIns="0" rIns="0" anchor="b">
            <a:noAutofit/>
          </a:bodyPr>
          <a:lstStyle>
            <a:lvl1pPr marL="0" indent="0" algn="l">
              <a:spcBef>
                <a:spcPts val="200"/>
              </a:spcBef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1pPr>
            <a:lvl2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r>
              <a:rPr lang="en-US" noProof="0" dirty="0" smtClean="0"/>
              <a:t>Author</a:t>
            </a:r>
            <a:br>
              <a:rPr lang="en-US" noProof="0" dirty="0" smtClean="0"/>
            </a:br>
            <a:r>
              <a:rPr lang="en-US" noProof="0" dirty="0" smtClean="0"/>
              <a:t>Place</a:t>
            </a:r>
          </a:p>
        </p:txBody>
      </p:sp>
      <p:pic>
        <p:nvPicPr>
          <p:cNvPr id="10" name="Picture 195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7290" y="6241647"/>
            <a:ext cx="935756" cy="46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188993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093296"/>
          </a:xfrm>
          <a:noFill/>
        </p:spPr>
        <p:txBody>
          <a:bodyPr lIns="0" tIns="576000" anchor="ctr" anchorCtr="0">
            <a:normAutofit/>
          </a:bodyPr>
          <a:lstStyle>
            <a:lvl1pPr marL="0" marR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1993514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-1" y="1"/>
            <a:ext cx="12192001" cy="6857998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 dirty="0" smtClean="0"/>
              <a:t>Insert a pictur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57304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" name="Gruppierung 2"/>
          <p:cNvGrpSpPr>
            <a:grpSpLocks noChangeAspect="1"/>
          </p:cNvGrpSpPr>
          <p:nvPr userDrawn="1"/>
        </p:nvGrpSpPr>
        <p:grpSpPr bwMode="gray">
          <a:xfrm rot="21208675">
            <a:off x="2079150" y="1743276"/>
            <a:ext cx="4104875" cy="2659484"/>
            <a:chOff x="3013829" y="1420446"/>
            <a:chExt cx="3412816" cy="2210534"/>
          </a:xfrm>
        </p:grpSpPr>
        <p:sp>
          <p:nvSpPr>
            <p:cNvPr id="85" name="Rechteck 84"/>
            <p:cNvSpPr/>
            <p:nvPr/>
          </p:nvSpPr>
          <p:spPr bwMode="gray">
            <a:xfrm>
              <a:off x="3013829" y="1420446"/>
              <a:ext cx="3412816" cy="2210534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  <p:grpSp>
          <p:nvGrpSpPr>
            <p:cNvPr id="86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87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88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89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90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91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92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93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94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95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96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97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98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</p:grpSp>
      </p:grp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 rot="21180000">
            <a:off x="2333004" y="2964854"/>
            <a:ext cx="3709015" cy="251546"/>
          </a:xfrm>
        </p:spPr>
        <p:txBody>
          <a:bodyPr anchor="t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rgbClr val="3CA014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 smtClean="0"/>
              <a:t>Position</a:t>
            </a:r>
          </a:p>
        </p:txBody>
      </p:sp>
      <p:sp>
        <p:nvSpPr>
          <p:cNvPr id="44" name="Titel 5"/>
          <p:cNvSpPr>
            <a:spLocks noGrp="1"/>
          </p:cNvSpPr>
          <p:nvPr>
            <p:ph type="title" hasCustomPrompt="1"/>
          </p:nvPr>
        </p:nvSpPr>
        <p:spPr bwMode="gray">
          <a:xfrm rot="21180000">
            <a:off x="2293557" y="2565325"/>
            <a:ext cx="3710216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0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rgbClr val="00732D"/>
                </a:solidFill>
              </a:defRPr>
            </a:lvl1pPr>
          </a:lstStyle>
          <a:p>
            <a:r>
              <a:rPr lang="en-US" noProof="0" dirty="0" smtClean="0"/>
              <a:t>Name Surname</a:t>
            </a:r>
          </a:p>
        </p:txBody>
      </p:sp>
      <p:sp>
        <p:nvSpPr>
          <p:cNvPr id="46" name="Textplatzhalter 6"/>
          <p:cNvSpPr>
            <a:spLocks noGrp="1"/>
          </p:cNvSpPr>
          <p:nvPr userDrawn="1">
            <p:ph type="body" sz="quarter" idx="18" hasCustomPrompt="1"/>
          </p:nvPr>
        </p:nvSpPr>
        <p:spPr bwMode="gray">
          <a:xfrm>
            <a:off x="7248225" y="2655455"/>
            <a:ext cx="3599513" cy="40627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 b="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Thank you!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 rot="21179971">
            <a:off x="2415265" y="3467630"/>
            <a:ext cx="1531791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900" baseline="0">
                <a:solidFill>
                  <a:srgbClr val="000000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9pPr>
          </a:lstStyle>
          <a:p>
            <a:pPr lvl="0"/>
            <a:r>
              <a:rPr lang="en-US" noProof="0" dirty="0" smtClean="0"/>
              <a:t>MANN+HUMMEL</a:t>
            </a:r>
            <a:br>
              <a:rPr lang="en-US" noProof="0" dirty="0" smtClean="0"/>
            </a:br>
            <a:r>
              <a:rPr lang="en-US" noProof="0" dirty="0" smtClean="0"/>
              <a:t>Address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 rot="21179971">
            <a:off x="3975157" y="324011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>
                <a:solidFill>
                  <a:srgbClr val="000000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9pPr>
          </a:lstStyle>
          <a:p>
            <a:pPr lvl="0"/>
            <a:r>
              <a:rPr lang="en-US" noProof="0" dirty="0" smtClean="0"/>
              <a:t>Phone   +xx </a:t>
            </a:r>
            <a:r>
              <a:rPr lang="en-US" noProof="0" dirty="0" err="1" smtClean="0"/>
              <a:t>xxxx</a:t>
            </a:r>
            <a:r>
              <a:rPr lang="en-US" noProof="0" dirty="0" smtClean="0"/>
              <a:t> xx-xx</a:t>
            </a:r>
            <a:br>
              <a:rPr lang="en-US" noProof="0" dirty="0" smtClean="0"/>
            </a:br>
            <a:r>
              <a:rPr lang="en-US" noProof="0" dirty="0" smtClean="0"/>
              <a:t>Fax        +xx </a:t>
            </a:r>
            <a:r>
              <a:rPr lang="en-US" noProof="0" dirty="0" err="1" smtClean="0"/>
              <a:t>xxxx</a:t>
            </a:r>
            <a:r>
              <a:rPr lang="en-US" noProof="0" dirty="0" smtClean="0"/>
              <a:t> xx-xx</a:t>
            </a:r>
            <a:br>
              <a:rPr lang="en-US" noProof="0" dirty="0" smtClean="0"/>
            </a:br>
            <a:r>
              <a:rPr lang="en-US" noProof="0" dirty="0" smtClean="0"/>
              <a:t>Mobile    +xx </a:t>
            </a:r>
            <a:r>
              <a:rPr lang="en-US" noProof="0" dirty="0" err="1" smtClean="0"/>
              <a:t>xxxx</a:t>
            </a:r>
            <a:r>
              <a:rPr lang="en-US" noProof="0" dirty="0" smtClean="0"/>
              <a:t> xx xxx</a:t>
            </a:r>
          </a:p>
          <a:p>
            <a:pPr lvl="0"/>
            <a:r>
              <a:rPr lang="en-US" noProof="0" dirty="0" smtClean="0"/>
              <a:t>max.mustermann@mann-hummel.com</a:t>
            </a:r>
            <a:br>
              <a:rPr lang="en-US" noProof="0" dirty="0" smtClean="0"/>
            </a:br>
            <a:r>
              <a:rPr lang="en-US" noProof="0" dirty="0" smtClean="0"/>
              <a:t>www.mann-hummel.com</a:t>
            </a:r>
          </a:p>
        </p:txBody>
      </p:sp>
      <p:sp>
        <p:nvSpPr>
          <p:cNvPr id="2" name="Rechteck 1"/>
          <p:cNvSpPr/>
          <p:nvPr userDrawn="1"/>
        </p:nvSpPr>
        <p:spPr bwMode="gray">
          <a:xfrm>
            <a:off x="193624" y="6237312"/>
            <a:ext cx="5254472" cy="504056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2660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uppierung 2"/>
          <p:cNvGrpSpPr>
            <a:grpSpLocks noChangeAspect="1"/>
          </p:cNvGrpSpPr>
          <p:nvPr userDrawn="1"/>
        </p:nvGrpSpPr>
        <p:grpSpPr bwMode="gray">
          <a:xfrm rot="21208675">
            <a:off x="2079149" y="2067126"/>
            <a:ext cx="4104875" cy="2659484"/>
            <a:chOff x="3013829" y="1420446"/>
            <a:chExt cx="3412816" cy="2210534"/>
          </a:xfrm>
        </p:grpSpPr>
        <p:sp>
          <p:nvSpPr>
            <p:cNvPr id="44" name="Rechteck 43"/>
            <p:cNvSpPr/>
            <p:nvPr/>
          </p:nvSpPr>
          <p:spPr bwMode="gray">
            <a:xfrm>
              <a:off x="3013829" y="1420446"/>
              <a:ext cx="3412816" cy="2210534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  <p:grpSp>
          <p:nvGrpSpPr>
            <p:cNvPr id="46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47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48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49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51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52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53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54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55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56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57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58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59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</p:grpSp>
      </p:grpSp>
      <p:grpSp>
        <p:nvGrpSpPr>
          <p:cNvPr id="60" name="Gruppierung 2"/>
          <p:cNvGrpSpPr>
            <a:grpSpLocks noChangeAspect="1"/>
          </p:cNvGrpSpPr>
          <p:nvPr userDrawn="1"/>
        </p:nvGrpSpPr>
        <p:grpSpPr bwMode="gray">
          <a:xfrm rot="21208675">
            <a:off x="6089739" y="2067126"/>
            <a:ext cx="4104875" cy="2659484"/>
            <a:chOff x="3013829" y="1420446"/>
            <a:chExt cx="3412816" cy="2210534"/>
          </a:xfrm>
        </p:grpSpPr>
        <p:sp>
          <p:nvSpPr>
            <p:cNvPr id="61" name="Rechteck 60"/>
            <p:cNvSpPr/>
            <p:nvPr/>
          </p:nvSpPr>
          <p:spPr bwMode="gray">
            <a:xfrm>
              <a:off x="3013829" y="1420446"/>
              <a:ext cx="3412816" cy="2210534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799" dirty="0">
                <a:solidFill>
                  <a:prstClr val="white"/>
                </a:solidFill>
              </a:endParaRPr>
            </a:p>
          </p:txBody>
        </p:sp>
        <p:grpSp>
          <p:nvGrpSpPr>
            <p:cNvPr id="62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63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68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70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71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72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73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74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75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76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77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78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79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99" dirty="0">
                  <a:solidFill>
                    <a:srgbClr val="3C3C3C"/>
                  </a:solidFill>
                </a:endParaRPr>
              </a:p>
            </p:txBody>
          </p:sp>
        </p:grpSp>
      </p:grp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gray">
          <a:xfrm>
            <a:off x="193624" y="6237312"/>
            <a:ext cx="5254472" cy="504056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939419" y="980728"/>
            <a:ext cx="8908319" cy="40627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799" b="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3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Thank you!</a:t>
            </a:r>
          </a:p>
        </p:txBody>
      </p:sp>
      <p:sp>
        <p:nvSpPr>
          <p:cNvPr id="64" name="Textplatzhalter 2"/>
          <p:cNvSpPr>
            <a:spLocks noGrp="1"/>
          </p:cNvSpPr>
          <p:nvPr userDrawn="1">
            <p:ph type="body" sz="quarter" idx="17" hasCustomPrompt="1"/>
          </p:nvPr>
        </p:nvSpPr>
        <p:spPr bwMode="gray">
          <a:xfrm rot="21180000">
            <a:off x="2333003" y="3288704"/>
            <a:ext cx="3709015" cy="251546"/>
          </a:xfrm>
        </p:spPr>
        <p:txBody>
          <a:bodyPr anchor="t" anchorCtr="0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rgbClr val="3CA014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 smtClean="0"/>
              <a:t>Position</a:t>
            </a:r>
          </a:p>
        </p:txBody>
      </p:sp>
      <p:sp>
        <p:nvSpPr>
          <p:cNvPr id="65" name="Titel 5"/>
          <p:cNvSpPr>
            <a:spLocks noGrp="1"/>
          </p:cNvSpPr>
          <p:nvPr userDrawn="1">
            <p:ph type="title" hasCustomPrompt="1"/>
          </p:nvPr>
        </p:nvSpPr>
        <p:spPr bwMode="gray">
          <a:xfrm rot="21180000">
            <a:off x="2293556" y="2889175"/>
            <a:ext cx="3710216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0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rgbClr val="00732D"/>
                </a:solidFill>
              </a:defRPr>
            </a:lvl1pPr>
          </a:lstStyle>
          <a:p>
            <a:r>
              <a:rPr lang="en-US" noProof="0" dirty="0" smtClean="0"/>
              <a:t>Name Surname</a:t>
            </a:r>
          </a:p>
        </p:txBody>
      </p:sp>
      <p:sp>
        <p:nvSpPr>
          <p:cNvPr id="66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 rot="21179971">
            <a:off x="2415264" y="3791481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>
                <a:solidFill>
                  <a:srgbClr val="000000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9pPr>
          </a:lstStyle>
          <a:p>
            <a:pPr lvl="0"/>
            <a:r>
              <a:rPr lang="en-US" noProof="0" dirty="0" smtClean="0"/>
              <a:t>MANN+HUMMEL</a:t>
            </a:r>
            <a:br>
              <a:rPr lang="en-US" noProof="0" dirty="0" smtClean="0"/>
            </a:br>
            <a:r>
              <a:rPr lang="en-US" noProof="0" dirty="0" smtClean="0"/>
              <a:t>Address</a:t>
            </a:r>
          </a:p>
        </p:txBody>
      </p:sp>
      <p:sp>
        <p:nvSpPr>
          <p:cNvPr id="67" name="Textplatzhalter 3"/>
          <p:cNvSpPr>
            <a:spLocks noGrp="1"/>
          </p:cNvSpPr>
          <p:nvPr userDrawn="1">
            <p:ph type="body" sz="quarter" idx="20" hasCustomPrompt="1"/>
          </p:nvPr>
        </p:nvSpPr>
        <p:spPr bwMode="gray">
          <a:xfrm rot="21179971">
            <a:off x="3975156" y="356396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>
                <a:solidFill>
                  <a:srgbClr val="000000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9pPr>
          </a:lstStyle>
          <a:p>
            <a:pPr lvl="0"/>
            <a:r>
              <a:rPr lang="en-US" noProof="0" dirty="0" smtClean="0"/>
              <a:t>Phone   +xx </a:t>
            </a:r>
            <a:r>
              <a:rPr lang="en-US" noProof="0" dirty="0" err="1" smtClean="0"/>
              <a:t>xxxx</a:t>
            </a:r>
            <a:r>
              <a:rPr lang="en-US" noProof="0" dirty="0" smtClean="0"/>
              <a:t> xx-xx</a:t>
            </a:r>
            <a:br>
              <a:rPr lang="en-US" noProof="0" dirty="0" smtClean="0"/>
            </a:br>
            <a:r>
              <a:rPr lang="en-US" noProof="0" dirty="0" smtClean="0"/>
              <a:t>Fax        +xx </a:t>
            </a:r>
            <a:r>
              <a:rPr lang="en-US" noProof="0" dirty="0" err="1" smtClean="0"/>
              <a:t>xxxx</a:t>
            </a:r>
            <a:r>
              <a:rPr lang="en-US" noProof="0" dirty="0" smtClean="0"/>
              <a:t> xx-xx</a:t>
            </a:r>
            <a:br>
              <a:rPr lang="en-US" noProof="0" dirty="0" smtClean="0"/>
            </a:br>
            <a:r>
              <a:rPr lang="en-US" noProof="0" dirty="0" smtClean="0"/>
              <a:t>Mobile    +xx </a:t>
            </a:r>
            <a:r>
              <a:rPr lang="en-US" noProof="0" dirty="0" err="1" smtClean="0"/>
              <a:t>xxxx</a:t>
            </a:r>
            <a:r>
              <a:rPr lang="en-US" noProof="0" dirty="0" smtClean="0"/>
              <a:t> xx xxx</a:t>
            </a:r>
          </a:p>
          <a:p>
            <a:pPr lvl="0"/>
            <a:r>
              <a:rPr lang="en-US" noProof="0" dirty="0" smtClean="0"/>
              <a:t>max.mustermann@mann-hummel.com</a:t>
            </a:r>
            <a:br>
              <a:rPr lang="en-US" noProof="0" dirty="0" smtClean="0"/>
            </a:br>
            <a:r>
              <a:rPr lang="en-US" noProof="0" dirty="0" smtClean="0"/>
              <a:t>www.mann-hummel.com</a:t>
            </a:r>
          </a:p>
        </p:txBody>
      </p:sp>
      <p:grpSp>
        <p:nvGrpSpPr>
          <p:cNvPr id="17" name="Gruppierung 17"/>
          <p:cNvGrpSpPr/>
          <p:nvPr userDrawn="1"/>
        </p:nvGrpSpPr>
        <p:grpSpPr bwMode="gray">
          <a:xfrm rot="21208675">
            <a:off x="4808591" y="2123792"/>
            <a:ext cx="1062067" cy="384542"/>
            <a:chOff x="2627313" y="2133600"/>
            <a:chExt cx="5210175" cy="1885950"/>
          </a:xfrm>
          <a:solidFill>
            <a:schemeClr val="accent1"/>
          </a:solidFill>
        </p:grpSpPr>
        <p:sp>
          <p:nvSpPr>
            <p:cNvPr id="18" name="Freeform 6"/>
            <p:cNvSpPr>
              <a:spLocks/>
            </p:cNvSpPr>
            <p:nvPr userDrawn="1"/>
          </p:nvSpPr>
          <p:spPr bwMode="gray">
            <a:xfrm>
              <a:off x="2627313" y="3159125"/>
              <a:ext cx="749300" cy="847725"/>
            </a:xfrm>
            <a:custGeom>
              <a:avLst/>
              <a:gdLst/>
              <a:ahLst/>
              <a:cxnLst>
                <a:cxn ang="0">
                  <a:pos x="354" y="534"/>
                </a:cxn>
                <a:cxn ang="0">
                  <a:pos x="354" y="320"/>
                </a:cxn>
                <a:cxn ang="0">
                  <a:pos x="118" y="320"/>
                </a:cxn>
                <a:cxn ang="0">
                  <a:pos x="118" y="534"/>
                </a:cxn>
                <a:cxn ang="0">
                  <a:pos x="0" y="534"/>
                </a:cxn>
                <a:cxn ang="0">
                  <a:pos x="0" y="0"/>
                </a:cxn>
                <a:cxn ang="0">
                  <a:pos x="118" y="0"/>
                </a:cxn>
                <a:cxn ang="0">
                  <a:pos x="118" y="212"/>
                </a:cxn>
                <a:cxn ang="0">
                  <a:pos x="354" y="212"/>
                </a:cxn>
                <a:cxn ang="0">
                  <a:pos x="354" y="0"/>
                </a:cxn>
                <a:cxn ang="0">
                  <a:pos x="472" y="0"/>
                </a:cxn>
                <a:cxn ang="0">
                  <a:pos x="472" y="534"/>
                </a:cxn>
                <a:cxn ang="0">
                  <a:pos x="354" y="534"/>
                </a:cxn>
              </a:cxnLst>
              <a:rect l="0" t="0" r="r" b="b"/>
              <a:pathLst>
                <a:path w="472" h="534">
                  <a:moveTo>
                    <a:pt x="354" y="534"/>
                  </a:moveTo>
                  <a:lnTo>
                    <a:pt x="354" y="320"/>
                  </a:lnTo>
                  <a:lnTo>
                    <a:pt x="118" y="320"/>
                  </a:lnTo>
                  <a:lnTo>
                    <a:pt x="118" y="534"/>
                  </a:lnTo>
                  <a:lnTo>
                    <a:pt x="0" y="534"/>
                  </a:lnTo>
                  <a:lnTo>
                    <a:pt x="0" y="0"/>
                  </a:lnTo>
                  <a:lnTo>
                    <a:pt x="118" y="0"/>
                  </a:lnTo>
                  <a:lnTo>
                    <a:pt x="118" y="212"/>
                  </a:lnTo>
                  <a:lnTo>
                    <a:pt x="354" y="212"/>
                  </a:lnTo>
                  <a:lnTo>
                    <a:pt x="354" y="0"/>
                  </a:lnTo>
                  <a:lnTo>
                    <a:pt x="472" y="0"/>
                  </a:lnTo>
                  <a:lnTo>
                    <a:pt x="472" y="534"/>
                  </a:lnTo>
                  <a:lnTo>
                    <a:pt x="354" y="5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  <p:sp>
          <p:nvSpPr>
            <p:cNvPr id="19" name="Freeform 7"/>
            <p:cNvSpPr>
              <a:spLocks/>
            </p:cNvSpPr>
            <p:nvPr userDrawn="1"/>
          </p:nvSpPr>
          <p:spPr bwMode="gray">
            <a:xfrm>
              <a:off x="3544888" y="3159125"/>
              <a:ext cx="733425" cy="860425"/>
            </a:xfrm>
            <a:custGeom>
              <a:avLst/>
              <a:gdLst/>
              <a:ahLst/>
              <a:cxnLst>
                <a:cxn ang="0">
                  <a:pos x="230" y="542"/>
                </a:cxn>
                <a:cxn ang="0">
                  <a:pos x="178" y="540"/>
                </a:cxn>
                <a:cxn ang="0">
                  <a:pos x="132" y="528"/>
                </a:cxn>
                <a:cxn ang="0">
                  <a:pos x="94" y="510"/>
                </a:cxn>
                <a:cxn ang="0">
                  <a:pos x="60" y="484"/>
                </a:cxn>
                <a:cxn ang="0">
                  <a:pos x="34" y="450"/>
                </a:cxn>
                <a:cxn ang="0">
                  <a:pos x="16" y="408"/>
                </a:cxn>
                <a:cxn ang="0">
                  <a:pos x="4" y="360"/>
                </a:cxn>
                <a:cxn ang="0">
                  <a:pos x="0" y="306"/>
                </a:cxn>
                <a:cxn ang="0">
                  <a:pos x="118" y="0"/>
                </a:cxn>
                <a:cxn ang="0">
                  <a:pos x="118" y="302"/>
                </a:cxn>
                <a:cxn ang="0">
                  <a:pos x="124" y="360"/>
                </a:cxn>
                <a:cxn ang="0">
                  <a:pos x="134" y="382"/>
                </a:cxn>
                <a:cxn ang="0">
                  <a:pos x="148" y="400"/>
                </a:cxn>
                <a:cxn ang="0">
                  <a:pos x="164" y="416"/>
                </a:cxn>
                <a:cxn ang="0">
                  <a:pos x="182" y="426"/>
                </a:cxn>
                <a:cxn ang="0">
                  <a:pos x="206" y="432"/>
                </a:cxn>
                <a:cxn ang="0">
                  <a:pos x="230" y="434"/>
                </a:cxn>
                <a:cxn ang="0">
                  <a:pos x="278" y="426"/>
                </a:cxn>
                <a:cxn ang="0">
                  <a:pos x="298" y="416"/>
                </a:cxn>
                <a:cxn ang="0">
                  <a:pos x="314" y="402"/>
                </a:cxn>
                <a:cxn ang="0">
                  <a:pos x="328" y="384"/>
                </a:cxn>
                <a:cxn ang="0">
                  <a:pos x="336" y="362"/>
                </a:cxn>
                <a:cxn ang="0">
                  <a:pos x="344" y="306"/>
                </a:cxn>
                <a:cxn ang="0">
                  <a:pos x="462" y="0"/>
                </a:cxn>
                <a:cxn ang="0">
                  <a:pos x="462" y="302"/>
                </a:cxn>
                <a:cxn ang="0">
                  <a:pos x="458" y="358"/>
                </a:cxn>
                <a:cxn ang="0">
                  <a:pos x="446" y="408"/>
                </a:cxn>
                <a:cxn ang="0">
                  <a:pos x="426" y="450"/>
                </a:cxn>
                <a:cxn ang="0">
                  <a:pos x="400" y="482"/>
                </a:cxn>
                <a:cxn ang="0">
                  <a:pos x="366" y="510"/>
                </a:cxn>
                <a:cxn ang="0">
                  <a:pos x="326" y="528"/>
                </a:cxn>
                <a:cxn ang="0">
                  <a:pos x="280" y="540"/>
                </a:cxn>
                <a:cxn ang="0">
                  <a:pos x="230" y="542"/>
                </a:cxn>
              </a:cxnLst>
              <a:rect l="0" t="0" r="r" b="b"/>
              <a:pathLst>
                <a:path w="462" h="542">
                  <a:moveTo>
                    <a:pt x="230" y="542"/>
                  </a:moveTo>
                  <a:lnTo>
                    <a:pt x="230" y="542"/>
                  </a:lnTo>
                  <a:lnTo>
                    <a:pt x="204" y="542"/>
                  </a:lnTo>
                  <a:lnTo>
                    <a:pt x="178" y="540"/>
                  </a:lnTo>
                  <a:lnTo>
                    <a:pt x="154" y="534"/>
                  </a:lnTo>
                  <a:lnTo>
                    <a:pt x="132" y="528"/>
                  </a:lnTo>
                  <a:lnTo>
                    <a:pt x="112" y="520"/>
                  </a:lnTo>
                  <a:lnTo>
                    <a:pt x="94" y="510"/>
                  </a:lnTo>
                  <a:lnTo>
                    <a:pt x="76" y="498"/>
                  </a:lnTo>
                  <a:lnTo>
                    <a:pt x="60" y="484"/>
                  </a:lnTo>
                  <a:lnTo>
                    <a:pt x="46" y="468"/>
                  </a:lnTo>
                  <a:lnTo>
                    <a:pt x="34" y="450"/>
                  </a:lnTo>
                  <a:lnTo>
                    <a:pt x="24" y="430"/>
                  </a:lnTo>
                  <a:lnTo>
                    <a:pt x="16" y="408"/>
                  </a:lnTo>
                  <a:lnTo>
                    <a:pt x="8" y="386"/>
                  </a:lnTo>
                  <a:lnTo>
                    <a:pt x="4" y="360"/>
                  </a:lnTo>
                  <a:lnTo>
                    <a:pt x="0" y="334"/>
                  </a:lnTo>
                  <a:lnTo>
                    <a:pt x="0" y="306"/>
                  </a:lnTo>
                  <a:lnTo>
                    <a:pt x="0" y="0"/>
                  </a:lnTo>
                  <a:lnTo>
                    <a:pt x="118" y="0"/>
                  </a:lnTo>
                  <a:lnTo>
                    <a:pt x="118" y="302"/>
                  </a:lnTo>
                  <a:lnTo>
                    <a:pt x="118" y="302"/>
                  </a:lnTo>
                  <a:lnTo>
                    <a:pt x="120" y="332"/>
                  </a:lnTo>
                  <a:lnTo>
                    <a:pt x="124" y="360"/>
                  </a:lnTo>
                  <a:lnTo>
                    <a:pt x="130" y="372"/>
                  </a:lnTo>
                  <a:lnTo>
                    <a:pt x="134" y="382"/>
                  </a:lnTo>
                  <a:lnTo>
                    <a:pt x="140" y="392"/>
                  </a:lnTo>
                  <a:lnTo>
                    <a:pt x="148" y="400"/>
                  </a:lnTo>
                  <a:lnTo>
                    <a:pt x="154" y="408"/>
                  </a:lnTo>
                  <a:lnTo>
                    <a:pt x="164" y="416"/>
                  </a:lnTo>
                  <a:lnTo>
                    <a:pt x="172" y="422"/>
                  </a:lnTo>
                  <a:lnTo>
                    <a:pt x="182" y="426"/>
                  </a:lnTo>
                  <a:lnTo>
                    <a:pt x="194" y="430"/>
                  </a:lnTo>
                  <a:lnTo>
                    <a:pt x="206" y="432"/>
                  </a:lnTo>
                  <a:lnTo>
                    <a:pt x="230" y="434"/>
                  </a:lnTo>
                  <a:lnTo>
                    <a:pt x="230" y="434"/>
                  </a:lnTo>
                  <a:lnTo>
                    <a:pt x="256" y="432"/>
                  </a:lnTo>
                  <a:lnTo>
                    <a:pt x="278" y="426"/>
                  </a:lnTo>
                  <a:lnTo>
                    <a:pt x="290" y="422"/>
                  </a:lnTo>
                  <a:lnTo>
                    <a:pt x="298" y="416"/>
                  </a:lnTo>
                  <a:lnTo>
                    <a:pt x="306" y="410"/>
                  </a:lnTo>
                  <a:lnTo>
                    <a:pt x="314" y="402"/>
                  </a:lnTo>
                  <a:lnTo>
                    <a:pt x="322" y="394"/>
                  </a:lnTo>
                  <a:lnTo>
                    <a:pt x="328" y="384"/>
                  </a:lnTo>
                  <a:lnTo>
                    <a:pt x="332" y="374"/>
                  </a:lnTo>
                  <a:lnTo>
                    <a:pt x="336" y="362"/>
                  </a:lnTo>
                  <a:lnTo>
                    <a:pt x="342" y="336"/>
                  </a:lnTo>
                  <a:lnTo>
                    <a:pt x="344" y="306"/>
                  </a:lnTo>
                  <a:lnTo>
                    <a:pt x="344" y="0"/>
                  </a:lnTo>
                  <a:lnTo>
                    <a:pt x="462" y="0"/>
                  </a:lnTo>
                  <a:lnTo>
                    <a:pt x="462" y="302"/>
                  </a:lnTo>
                  <a:lnTo>
                    <a:pt x="462" y="302"/>
                  </a:lnTo>
                  <a:lnTo>
                    <a:pt x="462" y="330"/>
                  </a:lnTo>
                  <a:lnTo>
                    <a:pt x="458" y="358"/>
                  </a:lnTo>
                  <a:lnTo>
                    <a:pt x="454" y="384"/>
                  </a:lnTo>
                  <a:lnTo>
                    <a:pt x="446" y="408"/>
                  </a:lnTo>
                  <a:lnTo>
                    <a:pt x="438" y="430"/>
                  </a:lnTo>
                  <a:lnTo>
                    <a:pt x="426" y="450"/>
                  </a:lnTo>
                  <a:lnTo>
                    <a:pt x="414" y="466"/>
                  </a:lnTo>
                  <a:lnTo>
                    <a:pt x="400" y="482"/>
                  </a:lnTo>
                  <a:lnTo>
                    <a:pt x="384" y="498"/>
                  </a:lnTo>
                  <a:lnTo>
                    <a:pt x="366" y="510"/>
                  </a:lnTo>
                  <a:lnTo>
                    <a:pt x="348" y="520"/>
                  </a:lnTo>
                  <a:lnTo>
                    <a:pt x="326" y="528"/>
                  </a:lnTo>
                  <a:lnTo>
                    <a:pt x="304" y="534"/>
                  </a:lnTo>
                  <a:lnTo>
                    <a:pt x="280" y="540"/>
                  </a:lnTo>
                  <a:lnTo>
                    <a:pt x="256" y="542"/>
                  </a:lnTo>
                  <a:lnTo>
                    <a:pt x="230" y="54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  <p:sp>
          <p:nvSpPr>
            <p:cNvPr id="20" name="Freeform 8"/>
            <p:cNvSpPr>
              <a:spLocks/>
            </p:cNvSpPr>
            <p:nvPr userDrawn="1"/>
          </p:nvSpPr>
          <p:spPr bwMode="gray">
            <a:xfrm>
              <a:off x="3544888" y="3159125"/>
              <a:ext cx="733425" cy="860425"/>
            </a:xfrm>
            <a:custGeom>
              <a:avLst/>
              <a:gdLst/>
              <a:ahLst/>
              <a:cxnLst>
                <a:cxn ang="0">
                  <a:pos x="230" y="542"/>
                </a:cxn>
                <a:cxn ang="0">
                  <a:pos x="178" y="540"/>
                </a:cxn>
                <a:cxn ang="0">
                  <a:pos x="132" y="528"/>
                </a:cxn>
                <a:cxn ang="0">
                  <a:pos x="94" y="510"/>
                </a:cxn>
                <a:cxn ang="0">
                  <a:pos x="60" y="484"/>
                </a:cxn>
                <a:cxn ang="0">
                  <a:pos x="34" y="450"/>
                </a:cxn>
                <a:cxn ang="0">
                  <a:pos x="16" y="408"/>
                </a:cxn>
                <a:cxn ang="0">
                  <a:pos x="4" y="360"/>
                </a:cxn>
                <a:cxn ang="0">
                  <a:pos x="0" y="306"/>
                </a:cxn>
                <a:cxn ang="0">
                  <a:pos x="118" y="0"/>
                </a:cxn>
                <a:cxn ang="0">
                  <a:pos x="118" y="302"/>
                </a:cxn>
                <a:cxn ang="0">
                  <a:pos x="124" y="360"/>
                </a:cxn>
                <a:cxn ang="0">
                  <a:pos x="134" y="382"/>
                </a:cxn>
                <a:cxn ang="0">
                  <a:pos x="148" y="400"/>
                </a:cxn>
                <a:cxn ang="0">
                  <a:pos x="164" y="416"/>
                </a:cxn>
                <a:cxn ang="0">
                  <a:pos x="182" y="426"/>
                </a:cxn>
                <a:cxn ang="0">
                  <a:pos x="206" y="432"/>
                </a:cxn>
                <a:cxn ang="0">
                  <a:pos x="230" y="434"/>
                </a:cxn>
                <a:cxn ang="0">
                  <a:pos x="278" y="426"/>
                </a:cxn>
                <a:cxn ang="0">
                  <a:pos x="298" y="416"/>
                </a:cxn>
                <a:cxn ang="0">
                  <a:pos x="314" y="402"/>
                </a:cxn>
                <a:cxn ang="0">
                  <a:pos x="328" y="384"/>
                </a:cxn>
                <a:cxn ang="0">
                  <a:pos x="336" y="362"/>
                </a:cxn>
                <a:cxn ang="0">
                  <a:pos x="344" y="306"/>
                </a:cxn>
                <a:cxn ang="0">
                  <a:pos x="462" y="0"/>
                </a:cxn>
                <a:cxn ang="0">
                  <a:pos x="462" y="302"/>
                </a:cxn>
                <a:cxn ang="0">
                  <a:pos x="458" y="358"/>
                </a:cxn>
                <a:cxn ang="0">
                  <a:pos x="446" y="408"/>
                </a:cxn>
                <a:cxn ang="0">
                  <a:pos x="426" y="450"/>
                </a:cxn>
                <a:cxn ang="0">
                  <a:pos x="400" y="482"/>
                </a:cxn>
                <a:cxn ang="0">
                  <a:pos x="366" y="510"/>
                </a:cxn>
                <a:cxn ang="0">
                  <a:pos x="326" y="528"/>
                </a:cxn>
                <a:cxn ang="0">
                  <a:pos x="280" y="540"/>
                </a:cxn>
                <a:cxn ang="0">
                  <a:pos x="230" y="542"/>
                </a:cxn>
              </a:cxnLst>
              <a:rect l="0" t="0" r="r" b="b"/>
              <a:pathLst>
                <a:path w="462" h="542">
                  <a:moveTo>
                    <a:pt x="230" y="542"/>
                  </a:moveTo>
                  <a:lnTo>
                    <a:pt x="230" y="542"/>
                  </a:lnTo>
                  <a:lnTo>
                    <a:pt x="204" y="542"/>
                  </a:lnTo>
                  <a:lnTo>
                    <a:pt x="178" y="540"/>
                  </a:lnTo>
                  <a:lnTo>
                    <a:pt x="154" y="534"/>
                  </a:lnTo>
                  <a:lnTo>
                    <a:pt x="132" y="528"/>
                  </a:lnTo>
                  <a:lnTo>
                    <a:pt x="112" y="520"/>
                  </a:lnTo>
                  <a:lnTo>
                    <a:pt x="94" y="510"/>
                  </a:lnTo>
                  <a:lnTo>
                    <a:pt x="76" y="498"/>
                  </a:lnTo>
                  <a:lnTo>
                    <a:pt x="60" y="484"/>
                  </a:lnTo>
                  <a:lnTo>
                    <a:pt x="46" y="468"/>
                  </a:lnTo>
                  <a:lnTo>
                    <a:pt x="34" y="450"/>
                  </a:lnTo>
                  <a:lnTo>
                    <a:pt x="24" y="430"/>
                  </a:lnTo>
                  <a:lnTo>
                    <a:pt x="16" y="408"/>
                  </a:lnTo>
                  <a:lnTo>
                    <a:pt x="8" y="386"/>
                  </a:lnTo>
                  <a:lnTo>
                    <a:pt x="4" y="360"/>
                  </a:lnTo>
                  <a:lnTo>
                    <a:pt x="0" y="334"/>
                  </a:lnTo>
                  <a:lnTo>
                    <a:pt x="0" y="306"/>
                  </a:lnTo>
                  <a:lnTo>
                    <a:pt x="0" y="0"/>
                  </a:lnTo>
                  <a:lnTo>
                    <a:pt x="118" y="0"/>
                  </a:lnTo>
                  <a:lnTo>
                    <a:pt x="118" y="302"/>
                  </a:lnTo>
                  <a:lnTo>
                    <a:pt x="118" y="302"/>
                  </a:lnTo>
                  <a:lnTo>
                    <a:pt x="120" y="332"/>
                  </a:lnTo>
                  <a:lnTo>
                    <a:pt x="124" y="360"/>
                  </a:lnTo>
                  <a:lnTo>
                    <a:pt x="130" y="372"/>
                  </a:lnTo>
                  <a:lnTo>
                    <a:pt x="134" y="382"/>
                  </a:lnTo>
                  <a:lnTo>
                    <a:pt x="140" y="392"/>
                  </a:lnTo>
                  <a:lnTo>
                    <a:pt x="148" y="400"/>
                  </a:lnTo>
                  <a:lnTo>
                    <a:pt x="154" y="408"/>
                  </a:lnTo>
                  <a:lnTo>
                    <a:pt x="164" y="416"/>
                  </a:lnTo>
                  <a:lnTo>
                    <a:pt x="172" y="422"/>
                  </a:lnTo>
                  <a:lnTo>
                    <a:pt x="182" y="426"/>
                  </a:lnTo>
                  <a:lnTo>
                    <a:pt x="194" y="430"/>
                  </a:lnTo>
                  <a:lnTo>
                    <a:pt x="206" y="432"/>
                  </a:lnTo>
                  <a:lnTo>
                    <a:pt x="230" y="434"/>
                  </a:lnTo>
                  <a:lnTo>
                    <a:pt x="230" y="434"/>
                  </a:lnTo>
                  <a:lnTo>
                    <a:pt x="256" y="432"/>
                  </a:lnTo>
                  <a:lnTo>
                    <a:pt x="278" y="426"/>
                  </a:lnTo>
                  <a:lnTo>
                    <a:pt x="290" y="422"/>
                  </a:lnTo>
                  <a:lnTo>
                    <a:pt x="298" y="416"/>
                  </a:lnTo>
                  <a:lnTo>
                    <a:pt x="306" y="410"/>
                  </a:lnTo>
                  <a:lnTo>
                    <a:pt x="314" y="402"/>
                  </a:lnTo>
                  <a:lnTo>
                    <a:pt x="322" y="394"/>
                  </a:lnTo>
                  <a:lnTo>
                    <a:pt x="328" y="384"/>
                  </a:lnTo>
                  <a:lnTo>
                    <a:pt x="332" y="374"/>
                  </a:lnTo>
                  <a:lnTo>
                    <a:pt x="336" y="362"/>
                  </a:lnTo>
                  <a:lnTo>
                    <a:pt x="342" y="336"/>
                  </a:lnTo>
                  <a:lnTo>
                    <a:pt x="344" y="306"/>
                  </a:lnTo>
                  <a:lnTo>
                    <a:pt x="344" y="0"/>
                  </a:lnTo>
                  <a:lnTo>
                    <a:pt x="462" y="0"/>
                  </a:lnTo>
                  <a:lnTo>
                    <a:pt x="462" y="302"/>
                  </a:lnTo>
                  <a:lnTo>
                    <a:pt x="462" y="302"/>
                  </a:lnTo>
                  <a:lnTo>
                    <a:pt x="462" y="330"/>
                  </a:lnTo>
                  <a:lnTo>
                    <a:pt x="458" y="358"/>
                  </a:lnTo>
                  <a:lnTo>
                    <a:pt x="454" y="384"/>
                  </a:lnTo>
                  <a:lnTo>
                    <a:pt x="446" y="408"/>
                  </a:lnTo>
                  <a:lnTo>
                    <a:pt x="438" y="430"/>
                  </a:lnTo>
                  <a:lnTo>
                    <a:pt x="426" y="450"/>
                  </a:lnTo>
                  <a:lnTo>
                    <a:pt x="414" y="466"/>
                  </a:lnTo>
                  <a:lnTo>
                    <a:pt x="400" y="482"/>
                  </a:lnTo>
                  <a:lnTo>
                    <a:pt x="384" y="498"/>
                  </a:lnTo>
                  <a:lnTo>
                    <a:pt x="366" y="510"/>
                  </a:lnTo>
                  <a:lnTo>
                    <a:pt x="348" y="520"/>
                  </a:lnTo>
                  <a:lnTo>
                    <a:pt x="326" y="528"/>
                  </a:lnTo>
                  <a:lnTo>
                    <a:pt x="304" y="534"/>
                  </a:lnTo>
                  <a:lnTo>
                    <a:pt x="280" y="540"/>
                  </a:lnTo>
                  <a:lnTo>
                    <a:pt x="256" y="542"/>
                  </a:lnTo>
                  <a:lnTo>
                    <a:pt x="230" y="542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  <p:sp>
          <p:nvSpPr>
            <p:cNvPr id="21" name="Freeform 9"/>
            <p:cNvSpPr>
              <a:spLocks/>
            </p:cNvSpPr>
            <p:nvPr userDrawn="1"/>
          </p:nvSpPr>
          <p:spPr bwMode="gray">
            <a:xfrm>
              <a:off x="2627313" y="2139950"/>
              <a:ext cx="847725" cy="850900"/>
            </a:xfrm>
            <a:custGeom>
              <a:avLst/>
              <a:gdLst/>
              <a:ahLst/>
              <a:cxnLst>
                <a:cxn ang="0">
                  <a:pos x="418" y="536"/>
                </a:cxn>
                <a:cxn ang="0">
                  <a:pos x="418" y="186"/>
                </a:cxn>
                <a:cxn ang="0">
                  <a:pos x="268" y="414"/>
                </a:cxn>
                <a:cxn ang="0">
                  <a:pos x="264" y="414"/>
                </a:cxn>
                <a:cxn ang="0">
                  <a:pos x="116" y="188"/>
                </a:cxn>
                <a:cxn ang="0">
                  <a:pos x="116" y="536"/>
                </a:cxn>
                <a:cxn ang="0">
                  <a:pos x="0" y="536"/>
                </a:cxn>
                <a:cxn ang="0">
                  <a:pos x="0" y="0"/>
                </a:cxn>
                <a:cxn ang="0">
                  <a:pos x="126" y="0"/>
                </a:cxn>
                <a:cxn ang="0">
                  <a:pos x="268" y="226"/>
                </a:cxn>
                <a:cxn ang="0">
                  <a:pos x="408" y="0"/>
                </a:cxn>
                <a:cxn ang="0">
                  <a:pos x="534" y="0"/>
                </a:cxn>
                <a:cxn ang="0">
                  <a:pos x="534" y="536"/>
                </a:cxn>
                <a:cxn ang="0">
                  <a:pos x="418" y="536"/>
                </a:cxn>
              </a:cxnLst>
              <a:rect l="0" t="0" r="r" b="b"/>
              <a:pathLst>
                <a:path w="534" h="536">
                  <a:moveTo>
                    <a:pt x="418" y="536"/>
                  </a:moveTo>
                  <a:lnTo>
                    <a:pt x="418" y="186"/>
                  </a:lnTo>
                  <a:lnTo>
                    <a:pt x="268" y="414"/>
                  </a:lnTo>
                  <a:lnTo>
                    <a:pt x="264" y="414"/>
                  </a:lnTo>
                  <a:lnTo>
                    <a:pt x="116" y="188"/>
                  </a:lnTo>
                  <a:lnTo>
                    <a:pt x="116" y="536"/>
                  </a:lnTo>
                  <a:lnTo>
                    <a:pt x="0" y="536"/>
                  </a:lnTo>
                  <a:lnTo>
                    <a:pt x="0" y="0"/>
                  </a:lnTo>
                  <a:lnTo>
                    <a:pt x="126" y="0"/>
                  </a:lnTo>
                  <a:lnTo>
                    <a:pt x="268" y="226"/>
                  </a:lnTo>
                  <a:lnTo>
                    <a:pt x="408" y="0"/>
                  </a:lnTo>
                  <a:lnTo>
                    <a:pt x="534" y="0"/>
                  </a:lnTo>
                  <a:lnTo>
                    <a:pt x="534" y="536"/>
                  </a:lnTo>
                  <a:lnTo>
                    <a:pt x="418" y="5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  <p:sp>
          <p:nvSpPr>
            <p:cNvPr id="22" name="Freeform 10"/>
            <p:cNvSpPr>
              <a:spLocks/>
            </p:cNvSpPr>
            <p:nvPr userDrawn="1"/>
          </p:nvSpPr>
          <p:spPr bwMode="gray">
            <a:xfrm>
              <a:off x="4535488" y="2139950"/>
              <a:ext cx="781050" cy="850900"/>
            </a:xfrm>
            <a:custGeom>
              <a:avLst/>
              <a:gdLst/>
              <a:ahLst/>
              <a:cxnLst>
                <a:cxn ang="0">
                  <a:pos x="392" y="536"/>
                </a:cxn>
                <a:cxn ang="0">
                  <a:pos x="118" y="194"/>
                </a:cxn>
                <a:cxn ang="0">
                  <a:pos x="118" y="536"/>
                </a:cxn>
                <a:cxn ang="0">
                  <a:pos x="0" y="536"/>
                </a:cxn>
                <a:cxn ang="0">
                  <a:pos x="0" y="0"/>
                </a:cxn>
                <a:cxn ang="0">
                  <a:pos x="110" y="0"/>
                </a:cxn>
                <a:cxn ang="0">
                  <a:pos x="376" y="330"/>
                </a:cxn>
                <a:cxn ang="0">
                  <a:pos x="376" y="0"/>
                </a:cxn>
                <a:cxn ang="0">
                  <a:pos x="492" y="0"/>
                </a:cxn>
                <a:cxn ang="0">
                  <a:pos x="492" y="536"/>
                </a:cxn>
                <a:cxn ang="0">
                  <a:pos x="392" y="536"/>
                </a:cxn>
              </a:cxnLst>
              <a:rect l="0" t="0" r="r" b="b"/>
              <a:pathLst>
                <a:path w="492" h="536">
                  <a:moveTo>
                    <a:pt x="392" y="536"/>
                  </a:moveTo>
                  <a:lnTo>
                    <a:pt x="118" y="194"/>
                  </a:lnTo>
                  <a:lnTo>
                    <a:pt x="118" y="536"/>
                  </a:lnTo>
                  <a:lnTo>
                    <a:pt x="0" y="536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376" y="330"/>
                  </a:lnTo>
                  <a:lnTo>
                    <a:pt x="376" y="0"/>
                  </a:lnTo>
                  <a:lnTo>
                    <a:pt x="492" y="0"/>
                  </a:lnTo>
                  <a:lnTo>
                    <a:pt x="492" y="536"/>
                  </a:lnTo>
                  <a:lnTo>
                    <a:pt x="392" y="5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  <p:sp>
          <p:nvSpPr>
            <p:cNvPr id="23" name="Freeform 11"/>
            <p:cNvSpPr>
              <a:spLocks/>
            </p:cNvSpPr>
            <p:nvPr userDrawn="1"/>
          </p:nvSpPr>
          <p:spPr bwMode="gray">
            <a:xfrm>
              <a:off x="5475288" y="2139950"/>
              <a:ext cx="777875" cy="850900"/>
            </a:xfrm>
            <a:custGeom>
              <a:avLst/>
              <a:gdLst/>
              <a:ahLst/>
              <a:cxnLst>
                <a:cxn ang="0">
                  <a:pos x="390" y="536"/>
                </a:cxn>
                <a:cxn ang="0">
                  <a:pos x="116" y="194"/>
                </a:cxn>
                <a:cxn ang="0">
                  <a:pos x="116" y="536"/>
                </a:cxn>
                <a:cxn ang="0">
                  <a:pos x="0" y="536"/>
                </a:cxn>
                <a:cxn ang="0">
                  <a:pos x="0" y="0"/>
                </a:cxn>
                <a:cxn ang="0">
                  <a:pos x="110" y="0"/>
                </a:cxn>
                <a:cxn ang="0">
                  <a:pos x="374" y="330"/>
                </a:cxn>
                <a:cxn ang="0">
                  <a:pos x="374" y="0"/>
                </a:cxn>
                <a:cxn ang="0">
                  <a:pos x="490" y="0"/>
                </a:cxn>
                <a:cxn ang="0">
                  <a:pos x="490" y="536"/>
                </a:cxn>
                <a:cxn ang="0">
                  <a:pos x="390" y="536"/>
                </a:cxn>
              </a:cxnLst>
              <a:rect l="0" t="0" r="r" b="b"/>
              <a:pathLst>
                <a:path w="490" h="536">
                  <a:moveTo>
                    <a:pt x="390" y="536"/>
                  </a:moveTo>
                  <a:lnTo>
                    <a:pt x="116" y="194"/>
                  </a:lnTo>
                  <a:lnTo>
                    <a:pt x="116" y="536"/>
                  </a:lnTo>
                  <a:lnTo>
                    <a:pt x="0" y="536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374" y="330"/>
                  </a:lnTo>
                  <a:lnTo>
                    <a:pt x="374" y="0"/>
                  </a:lnTo>
                  <a:lnTo>
                    <a:pt x="490" y="0"/>
                  </a:lnTo>
                  <a:lnTo>
                    <a:pt x="490" y="536"/>
                  </a:lnTo>
                  <a:lnTo>
                    <a:pt x="390" y="5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  <p:sp>
          <p:nvSpPr>
            <p:cNvPr id="24" name="Freeform 12"/>
            <p:cNvSpPr>
              <a:spLocks/>
            </p:cNvSpPr>
            <p:nvPr userDrawn="1"/>
          </p:nvSpPr>
          <p:spPr bwMode="gray">
            <a:xfrm>
              <a:off x="4446588" y="3159125"/>
              <a:ext cx="822325" cy="847725"/>
            </a:xfrm>
            <a:custGeom>
              <a:avLst/>
              <a:gdLst/>
              <a:ahLst/>
              <a:cxnLst>
                <a:cxn ang="0">
                  <a:pos x="402" y="534"/>
                </a:cxn>
                <a:cxn ang="0">
                  <a:pos x="402" y="186"/>
                </a:cxn>
                <a:cxn ang="0">
                  <a:pos x="258" y="414"/>
                </a:cxn>
                <a:cxn ang="0">
                  <a:pos x="256" y="414"/>
                </a:cxn>
                <a:cxn ang="0">
                  <a:pos x="114" y="188"/>
                </a:cxn>
                <a:cxn ang="0">
                  <a:pos x="114" y="534"/>
                </a:cxn>
                <a:cxn ang="0">
                  <a:pos x="0" y="534"/>
                </a:cxn>
                <a:cxn ang="0">
                  <a:pos x="0" y="0"/>
                </a:cxn>
                <a:cxn ang="0">
                  <a:pos x="126" y="0"/>
                </a:cxn>
                <a:cxn ang="0">
                  <a:pos x="258" y="226"/>
                </a:cxn>
                <a:cxn ang="0">
                  <a:pos x="392" y="0"/>
                </a:cxn>
                <a:cxn ang="0">
                  <a:pos x="518" y="0"/>
                </a:cxn>
                <a:cxn ang="0">
                  <a:pos x="518" y="534"/>
                </a:cxn>
                <a:cxn ang="0">
                  <a:pos x="402" y="534"/>
                </a:cxn>
              </a:cxnLst>
              <a:rect l="0" t="0" r="r" b="b"/>
              <a:pathLst>
                <a:path w="518" h="534">
                  <a:moveTo>
                    <a:pt x="402" y="534"/>
                  </a:moveTo>
                  <a:lnTo>
                    <a:pt x="402" y="186"/>
                  </a:lnTo>
                  <a:lnTo>
                    <a:pt x="258" y="414"/>
                  </a:lnTo>
                  <a:lnTo>
                    <a:pt x="256" y="414"/>
                  </a:lnTo>
                  <a:lnTo>
                    <a:pt x="114" y="188"/>
                  </a:lnTo>
                  <a:lnTo>
                    <a:pt x="114" y="534"/>
                  </a:lnTo>
                  <a:lnTo>
                    <a:pt x="0" y="534"/>
                  </a:lnTo>
                  <a:lnTo>
                    <a:pt x="0" y="0"/>
                  </a:lnTo>
                  <a:lnTo>
                    <a:pt x="126" y="0"/>
                  </a:lnTo>
                  <a:lnTo>
                    <a:pt x="258" y="226"/>
                  </a:lnTo>
                  <a:lnTo>
                    <a:pt x="392" y="0"/>
                  </a:lnTo>
                  <a:lnTo>
                    <a:pt x="518" y="0"/>
                  </a:lnTo>
                  <a:lnTo>
                    <a:pt x="518" y="534"/>
                  </a:lnTo>
                  <a:lnTo>
                    <a:pt x="402" y="5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  <p:sp>
          <p:nvSpPr>
            <p:cNvPr id="25" name="Freeform 13"/>
            <p:cNvSpPr>
              <a:spLocks/>
            </p:cNvSpPr>
            <p:nvPr userDrawn="1"/>
          </p:nvSpPr>
          <p:spPr bwMode="gray">
            <a:xfrm>
              <a:off x="5430838" y="3159125"/>
              <a:ext cx="825500" cy="847725"/>
            </a:xfrm>
            <a:custGeom>
              <a:avLst/>
              <a:gdLst/>
              <a:ahLst/>
              <a:cxnLst>
                <a:cxn ang="0">
                  <a:pos x="402" y="534"/>
                </a:cxn>
                <a:cxn ang="0">
                  <a:pos x="402" y="186"/>
                </a:cxn>
                <a:cxn ang="0">
                  <a:pos x="260" y="414"/>
                </a:cxn>
                <a:cxn ang="0">
                  <a:pos x="258" y="414"/>
                </a:cxn>
                <a:cxn ang="0">
                  <a:pos x="116" y="188"/>
                </a:cxn>
                <a:cxn ang="0">
                  <a:pos x="116" y="534"/>
                </a:cxn>
                <a:cxn ang="0">
                  <a:pos x="0" y="534"/>
                </a:cxn>
                <a:cxn ang="0">
                  <a:pos x="0" y="0"/>
                </a:cxn>
                <a:cxn ang="0">
                  <a:pos x="128" y="0"/>
                </a:cxn>
                <a:cxn ang="0">
                  <a:pos x="260" y="226"/>
                </a:cxn>
                <a:cxn ang="0">
                  <a:pos x="392" y="0"/>
                </a:cxn>
                <a:cxn ang="0">
                  <a:pos x="520" y="0"/>
                </a:cxn>
                <a:cxn ang="0">
                  <a:pos x="520" y="534"/>
                </a:cxn>
                <a:cxn ang="0">
                  <a:pos x="402" y="534"/>
                </a:cxn>
              </a:cxnLst>
              <a:rect l="0" t="0" r="r" b="b"/>
              <a:pathLst>
                <a:path w="520" h="534">
                  <a:moveTo>
                    <a:pt x="402" y="534"/>
                  </a:moveTo>
                  <a:lnTo>
                    <a:pt x="402" y="186"/>
                  </a:lnTo>
                  <a:lnTo>
                    <a:pt x="260" y="414"/>
                  </a:lnTo>
                  <a:lnTo>
                    <a:pt x="258" y="414"/>
                  </a:lnTo>
                  <a:lnTo>
                    <a:pt x="116" y="188"/>
                  </a:lnTo>
                  <a:lnTo>
                    <a:pt x="116" y="534"/>
                  </a:lnTo>
                  <a:lnTo>
                    <a:pt x="0" y="534"/>
                  </a:lnTo>
                  <a:lnTo>
                    <a:pt x="0" y="0"/>
                  </a:lnTo>
                  <a:lnTo>
                    <a:pt x="128" y="0"/>
                  </a:lnTo>
                  <a:lnTo>
                    <a:pt x="260" y="226"/>
                  </a:lnTo>
                  <a:lnTo>
                    <a:pt x="392" y="0"/>
                  </a:lnTo>
                  <a:lnTo>
                    <a:pt x="520" y="0"/>
                  </a:lnTo>
                  <a:lnTo>
                    <a:pt x="520" y="534"/>
                  </a:lnTo>
                  <a:lnTo>
                    <a:pt x="402" y="5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  <p:sp>
          <p:nvSpPr>
            <p:cNvPr id="26" name="Freeform 14"/>
            <p:cNvSpPr>
              <a:spLocks/>
            </p:cNvSpPr>
            <p:nvPr userDrawn="1"/>
          </p:nvSpPr>
          <p:spPr bwMode="gray">
            <a:xfrm>
              <a:off x="6415088" y="3159125"/>
              <a:ext cx="650875" cy="847725"/>
            </a:xfrm>
            <a:custGeom>
              <a:avLst/>
              <a:gdLst/>
              <a:ahLst/>
              <a:cxnLst>
                <a:cxn ang="0">
                  <a:pos x="0" y="534"/>
                </a:cxn>
                <a:cxn ang="0">
                  <a:pos x="0" y="0"/>
                </a:cxn>
                <a:cxn ang="0">
                  <a:pos x="410" y="0"/>
                </a:cxn>
                <a:cxn ang="0">
                  <a:pos x="410" y="104"/>
                </a:cxn>
                <a:cxn ang="0">
                  <a:pos x="118" y="104"/>
                </a:cxn>
                <a:cxn ang="0">
                  <a:pos x="118" y="212"/>
                </a:cxn>
                <a:cxn ang="0">
                  <a:pos x="378" y="212"/>
                </a:cxn>
                <a:cxn ang="0">
                  <a:pos x="378" y="318"/>
                </a:cxn>
                <a:cxn ang="0">
                  <a:pos x="118" y="318"/>
                </a:cxn>
                <a:cxn ang="0">
                  <a:pos x="118" y="430"/>
                </a:cxn>
                <a:cxn ang="0">
                  <a:pos x="410" y="430"/>
                </a:cxn>
                <a:cxn ang="0">
                  <a:pos x="410" y="534"/>
                </a:cxn>
                <a:cxn ang="0">
                  <a:pos x="0" y="534"/>
                </a:cxn>
              </a:cxnLst>
              <a:rect l="0" t="0" r="r" b="b"/>
              <a:pathLst>
                <a:path w="410" h="534">
                  <a:moveTo>
                    <a:pt x="0" y="534"/>
                  </a:moveTo>
                  <a:lnTo>
                    <a:pt x="0" y="0"/>
                  </a:lnTo>
                  <a:lnTo>
                    <a:pt x="410" y="0"/>
                  </a:lnTo>
                  <a:lnTo>
                    <a:pt x="410" y="104"/>
                  </a:lnTo>
                  <a:lnTo>
                    <a:pt x="118" y="104"/>
                  </a:lnTo>
                  <a:lnTo>
                    <a:pt x="118" y="212"/>
                  </a:lnTo>
                  <a:lnTo>
                    <a:pt x="378" y="212"/>
                  </a:lnTo>
                  <a:lnTo>
                    <a:pt x="378" y="318"/>
                  </a:lnTo>
                  <a:lnTo>
                    <a:pt x="118" y="318"/>
                  </a:lnTo>
                  <a:lnTo>
                    <a:pt x="118" y="430"/>
                  </a:lnTo>
                  <a:lnTo>
                    <a:pt x="410" y="430"/>
                  </a:lnTo>
                  <a:lnTo>
                    <a:pt x="410" y="534"/>
                  </a:lnTo>
                  <a:lnTo>
                    <a:pt x="0" y="5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  <p:sp>
          <p:nvSpPr>
            <p:cNvPr id="27" name="Freeform 15"/>
            <p:cNvSpPr>
              <a:spLocks/>
            </p:cNvSpPr>
            <p:nvPr userDrawn="1"/>
          </p:nvSpPr>
          <p:spPr bwMode="gray">
            <a:xfrm>
              <a:off x="7227888" y="3159125"/>
              <a:ext cx="609600" cy="847725"/>
            </a:xfrm>
            <a:custGeom>
              <a:avLst/>
              <a:gdLst/>
              <a:ahLst/>
              <a:cxnLst>
                <a:cxn ang="0">
                  <a:pos x="0" y="534"/>
                </a:cxn>
                <a:cxn ang="0">
                  <a:pos x="0" y="0"/>
                </a:cxn>
                <a:cxn ang="0">
                  <a:pos x="116" y="0"/>
                </a:cxn>
                <a:cxn ang="0">
                  <a:pos x="116" y="428"/>
                </a:cxn>
                <a:cxn ang="0">
                  <a:pos x="384" y="428"/>
                </a:cxn>
                <a:cxn ang="0">
                  <a:pos x="384" y="534"/>
                </a:cxn>
                <a:cxn ang="0">
                  <a:pos x="0" y="534"/>
                </a:cxn>
              </a:cxnLst>
              <a:rect l="0" t="0" r="r" b="b"/>
              <a:pathLst>
                <a:path w="384" h="534">
                  <a:moveTo>
                    <a:pt x="0" y="534"/>
                  </a:moveTo>
                  <a:lnTo>
                    <a:pt x="0" y="0"/>
                  </a:lnTo>
                  <a:lnTo>
                    <a:pt x="116" y="0"/>
                  </a:lnTo>
                  <a:lnTo>
                    <a:pt x="116" y="428"/>
                  </a:lnTo>
                  <a:lnTo>
                    <a:pt x="384" y="428"/>
                  </a:lnTo>
                  <a:lnTo>
                    <a:pt x="384" y="534"/>
                  </a:lnTo>
                  <a:lnTo>
                    <a:pt x="0" y="5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  <p:sp>
          <p:nvSpPr>
            <p:cNvPr id="28" name="Freeform 16"/>
            <p:cNvSpPr>
              <a:spLocks noEditPoints="1"/>
            </p:cNvSpPr>
            <p:nvPr userDrawn="1"/>
          </p:nvSpPr>
          <p:spPr bwMode="gray">
            <a:xfrm>
              <a:off x="3548063" y="2133600"/>
              <a:ext cx="911225" cy="857250"/>
            </a:xfrm>
            <a:custGeom>
              <a:avLst/>
              <a:gdLst/>
              <a:ahLst/>
              <a:cxnLst>
                <a:cxn ang="0">
                  <a:pos x="212" y="316"/>
                </a:cxn>
                <a:cxn ang="0">
                  <a:pos x="286" y="142"/>
                </a:cxn>
                <a:cxn ang="0">
                  <a:pos x="360" y="316"/>
                </a:cxn>
                <a:cxn ang="0">
                  <a:pos x="212" y="316"/>
                </a:cxn>
                <a:cxn ang="0">
                  <a:pos x="342" y="0"/>
                </a:cxn>
                <a:cxn ang="0">
                  <a:pos x="232" y="0"/>
                </a:cxn>
                <a:cxn ang="0">
                  <a:pos x="0" y="540"/>
                </a:cxn>
                <a:cxn ang="0">
                  <a:pos x="120" y="540"/>
                </a:cxn>
                <a:cxn ang="0">
                  <a:pos x="170" y="420"/>
                </a:cxn>
                <a:cxn ang="0">
                  <a:pos x="402" y="420"/>
                </a:cxn>
                <a:cxn ang="0">
                  <a:pos x="452" y="540"/>
                </a:cxn>
                <a:cxn ang="0">
                  <a:pos x="574" y="540"/>
                </a:cxn>
                <a:cxn ang="0">
                  <a:pos x="342" y="0"/>
                </a:cxn>
              </a:cxnLst>
              <a:rect l="0" t="0" r="r" b="b"/>
              <a:pathLst>
                <a:path w="574" h="540">
                  <a:moveTo>
                    <a:pt x="212" y="316"/>
                  </a:moveTo>
                  <a:lnTo>
                    <a:pt x="286" y="142"/>
                  </a:lnTo>
                  <a:lnTo>
                    <a:pt x="360" y="316"/>
                  </a:lnTo>
                  <a:lnTo>
                    <a:pt x="212" y="316"/>
                  </a:lnTo>
                  <a:close/>
                  <a:moveTo>
                    <a:pt x="342" y="0"/>
                  </a:moveTo>
                  <a:lnTo>
                    <a:pt x="232" y="0"/>
                  </a:lnTo>
                  <a:lnTo>
                    <a:pt x="0" y="540"/>
                  </a:lnTo>
                  <a:lnTo>
                    <a:pt x="120" y="540"/>
                  </a:lnTo>
                  <a:lnTo>
                    <a:pt x="170" y="420"/>
                  </a:lnTo>
                  <a:lnTo>
                    <a:pt x="402" y="420"/>
                  </a:lnTo>
                  <a:lnTo>
                    <a:pt x="452" y="540"/>
                  </a:lnTo>
                  <a:lnTo>
                    <a:pt x="574" y="540"/>
                  </a:lnTo>
                  <a:lnTo>
                    <a:pt x="34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  <p:sp>
          <p:nvSpPr>
            <p:cNvPr id="29" name="Freeform 17"/>
            <p:cNvSpPr>
              <a:spLocks/>
            </p:cNvSpPr>
            <p:nvPr userDrawn="1"/>
          </p:nvSpPr>
          <p:spPr bwMode="gray">
            <a:xfrm>
              <a:off x="6538913" y="2139950"/>
              <a:ext cx="873125" cy="850900"/>
            </a:xfrm>
            <a:custGeom>
              <a:avLst/>
              <a:gdLst/>
              <a:ahLst/>
              <a:cxnLst>
                <a:cxn ang="0">
                  <a:pos x="550" y="212"/>
                </a:cxn>
                <a:cxn ang="0">
                  <a:pos x="332" y="212"/>
                </a:cxn>
                <a:cxn ang="0">
                  <a:pos x="332" y="0"/>
                </a:cxn>
                <a:cxn ang="0">
                  <a:pos x="220" y="0"/>
                </a:cxn>
                <a:cxn ang="0">
                  <a:pos x="220" y="212"/>
                </a:cxn>
                <a:cxn ang="0">
                  <a:pos x="0" y="212"/>
                </a:cxn>
                <a:cxn ang="0">
                  <a:pos x="0" y="322"/>
                </a:cxn>
                <a:cxn ang="0">
                  <a:pos x="220" y="322"/>
                </a:cxn>
                <a:cxn ang="0">
                  <a:pos x="220" y="536"/>
                </a:cxn>
                <a:cxn ang="0">
                  <a:pos x="332" y="536"/>
                </a:cxn>
                <a:cxn ang="0">
                  <a:pos x="332" y="322"/>
                </a:cxn>
                <a:cxn ang="0">
                  <a:pos x="550" y="322"/>
                </a:cxn>
                <a:cxn ang="0">
                  <a:pos x="550" y="212"/>
                </a:cxn>
              </a:cxnLst>
              <a:rect l="0" t="0" r="r" b="b"/>
              <a:pathLst>
                <a:path w="550" h="536">
                  <a:moveTo>
                    <a:pt x="550" y="212"/>
                  </a:moveTo>
                  <a:lnTo>
                    <a:pt x="332" y="212"/>
                  </a:lnTo>
                  <a:lnTo>
                    <a:pt x="332" y="0"/>
                  </a:lnTo>
                  <a:lnTo>
                    <a:pt x="220" y="0"/>
                  </a:lnTo>
                  <a:lnTo>
                    <a:pt x="220" y="212"/>
                  </a:lnTo>
                  <a:lnTo>
                    <a:pt x="0" y="212"/>
                  </a:lnTo>
                  <a:lnTo>
                    <a:pt x="0" y="322"/>
                  </a:lnTo>
                  <a:lnTo>
                    <a:pt x="220" y="322"/>
                  </a:lnTo>
                  <a:lnTo>
                    <a:pt x="220" y="536"/>
                  </a:lnTo>
                  <a:lnTo>
                    <a:pt x="332" y="536"/>
                  </a:lnTo>
                  <a:lnTo>
                    <a:pt x="332" y="322"/>
                  </a:lnTo>
                  <a:lnTo>
                    <a:pt x="550" y="322"/>
                  </a:lnTo>
                  <a:lnTo>
                    <a:pt x="550" y="2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</p:grpSp>
      <p:sp>
        <p:nvSpPr>
          <p:cNvPr id="83" name="Textplatzhalter 2"/>
          <p:cNvSpPr>
            <a:spLocks noGrp="1"/>
          </p:cNvSpPr>
          <p:nvPr userDrawn="1">
            <p:ph type="body" sz="quarter" idx="21" hasCustomPrompt="1"/>
          </p:nvPr>
        </p:nvSpPr>
        <p:spPr bwMode="gray">
          <a:xfrm rot="21180000">
            <a:off x="6343594" y="3288704"/>
            <a:ext cx="3709015" cy="251546"/>
          </a:xfrm>
        </p:spPr>
        <p:txBody>
          <a:bodyPr anchor="t" anchorCtr="0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rgbClr val="3CA014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 smtClean="0"/>
              <a:t>Position</a:t>
            </a:r>
          </a:p>
        </p:txBody>
      </p:sp>
      <p:sp>
        <p:nvSpPr>
          <p:cNvPr id="84" name="Textplatzhalter 3"/>
          <p:cNvSpPr>
            <a:spLocks noGrp="1"/>
          </p:cNvSpPr>
          <p:nvPr userDrawn="1">
            <p:ph type="body" sz="quarter" idx="22" hasCustomPrompt="1"/>
          </p:nvPr>
        </p:nvSpPr>
        <p:spPr bwMode="gray">
          <a:xfrm rot="21179971">
            <a:off x="6425855" y="3791481"/>
            <a:ext cx="1531791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>
                <a:solidFill>
                  <a:srgbClr val="000000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9pPr>
          </a:lstStyle>
          <a:p>
            <a:pPr lvl="0"/>
            <a:r>
              <a:rPr lang="en-US" noProof="0" dirty="0" smtClean="0"/>
              <a:t>MANN+HUMMEL</a:t>
            </a:r>
            <a:br>
              <a:rPr lang="en-US" noProof="0" dirty="0" smtClean="0"/>
            </a:br>
            <a:r>
              <a:rPr lang="en-US" noProof="0" dirty="0" smtClean="0"/>
              <a:t>Address</a:t>
            </a:r>
          </a:p>
        </p:txBody>
      </p:sp>
      <p:sp>
        <p:nvSpPr>
          <p:cNvPr id="85" name="Textplatzhalter 3"/>
          <p:cNvSpPr>
            <a:spLocks noGrp="1"/>
          </p:cNvSpPr>
          <p:nvPr userDrawn="1">
            <p:ph type="body" sz="quarter" idx="23" hasCustomPrompt="1"/>
          </p:nvPr>
        </p:nvSpPr>
        <p:spPr bwMode="gray">
          <a:xfrm rot="21179971">
            <a:off x="7985746" y="3563963"/>
            <a:ext cx="2142240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128" algn="l"/>
              </a:tabLst>
              <a:defRPr sz="900" baseline="0">
                <a:solidFill>
                  <a:srgbClr val="000000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900">
                <a:solidFill>
                  <a:srgbClr val="000000"/>
                </a:solidFill>
              </a:defRPr>
            </a:lvl9pPr>
          </a:lstStyle>
          <a:p>
            <a:pPr lvl="0"/>
            <a:r>
              <a:rPr lang="en-US" noProof="0" dirty="0" smtClean="0"/>
              <a:t>Phone   +xx </a:t>
            </a:r>
            <a:r>
              <a:rPr lang="en-US" noProof="0" dirty="0" err="1" smtClean="0"/>
              <a:t>xxxx</a:t>
            </a:r>
            <a:r>
              <a:rPr lang="en-US" noProof="0" dirty="0" smtClean="0"/>
              <a:t> xx-xx</a:t>
            </a:r>
            <a:br>
              <a:rPr lang="en-US" noProof="0" dirty="0" smtClean="0"/>
            </a:br>
            <a:r>
              <a:rPr lang="en-US" noProof="0" dirty="0" smtClean="0"/>
              <a:t>Fax        +xx </a:t>
            </a:r>
            <a:r>
              <a:rPr lang="en-US" noProof="0" dirty="0" err="1" smtClean="0"/>
              <a:t>xxxx</a:t>
            </a:r>
            <a:r>
              <a:rPr lang="en-US" noProof="0" dirty="0" smtClean="0"/>
              <a:t> xx-xx</a:t>
            </a:r>
            <a:br>
              <a:rPr lang="en-US" noProof="0" dirty="0" smtClean="0"/>
            </a:br>
            <a:r>
              <a:rPr lang="en-US" noProof="0" dirty="0" smtClean="0"/>
              <a:t>Mobile    +xx </a:t>
            </a:r>
            <a:r>
              <a:rPr lang="en-US" noProof="0" dirty="0" err="1" smtClean="0"/>
              <a:t>xxxx</a:t>
            </a:r>
            <a:r>
              <a:rPr lang="en-US" noProof="0" dirty="0" smtClean="0"/>
              <a:t> xx xxx</a:t>
            </a:r>
          </a:p>
          <a:p>
            <a:pPr lvl="0"/>
            <a:r>
              <a:rPr lang="en-US" noProof="0" dirty="0" smtClean="0"/>
              <a:t>max.mustermann@mann-hummel.com</a:t>
            </a:r>
            <a:br>
              <a:rPr lang="en-US" noProof="0" dirty="0" smtClean="0"/>
            </a:br>
            <a:r>
              <a:rPr lang="en-US" noProof="0" dirty="0" smtClean="0"/>
              <a:t>www.mann-hummel.com</a:t>
            </a:r>
          </a:p>
        </p:txBody>
      </p:sp>
      <p:sp>
        <p:nvSpPr>
          <p:cNvPr id="86" name="Textplatzhalter 6"/>
          <p:cNvSpPr>
            <a:spLocks noGrp="1"/>
          </p:cNvSpPr>
          <p:nvPr userDrawn="1">
            <p:ph type="body" sz="quarter" idx="24" hasCustomPrompt="1"/>
          </p:nvPr>
        </p:nvSpPr>
        <p:spPr>
          <a:xfrm rot="21180000">
            <a:off x="6303251" y="2859179"/>
            <a:ext cx="3706682" cy="431800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Name Surname</a:t>
            </a:r>
            <a:endParaRPr lang="en-US" noProof="0" dirty="0"/>
          </a:p>
        </p:txBody>
      </p:sp>
      <p:grpSp>
        <p:nvGrpSpPr>
          <p:cNvPr id="30" name="Gruppierung 17"/>
          <p:cNvGrpSpPr/>
          <p:nvPr userDrawn="1"/>
        </p:nvGrpSpPr>
        <p:grpSpPr bwMode="gray">
          <a:xfrm rot="21208675">
            <a:off x="8819182" y="2123792"/>
            <a:ext cx="1062067" cy="384542"/>
            <a:chOff x="2627313" y="2133600"/>
            <a:chExt cx="5210175" cy="1885950"/>
          </a:xfrm>
          <a:solidFill>
            <a:schemeClr val="accent1"/>
          </a:solidFill>
        </p:grpSpPr>
        <p:sp>
          <p:nvSpPr>
            <p:cNvPr id="31" name="Freeform 6"/>
            <p:cNvSpPr>
              <a:spLocks/>
            </p:cNvSpPr>
            <p:nvPr userDrawn="1"/>
          </p:nvSpPr>
          <p:spPr bwMode="gray">
            <a:xfrm>
              <a:off x="2627313" y="3159125"/>
              <a:ext cx="749300" cy="847725"/>
            </a:xfrm>
            <a:custGeom>
              <a:avLst/>
              <a:gdLst/>
              <a:ahLst/>
              <a:cxnLst>
                <a:cxn ang="0">
                  <a:pos x="354" y="534"/>
                </a:cxn>
                <a:cxn ang="0">
                  <a:pos x="354" y="320"/>
                </a:cxn>
                <a:cxn ang="0">
                  <a:pos x="118" y="320"/>
                </a:cxn>
                <a:cxn ang="0">
                  <a:pos x="118" y="534"/>
                </a:cxn>
                <a:cxn ang="0">
                  <a:pos x="0" y="534"/>
                </a:cxn>
                <a:cxn ang="0">
                  <a:pos x="0" y="0"/>
                </a:cxn>
                <a:cxn ang="0">
                  <a:pos x="118" y="0"/>
                </a:cxn>
                <a:cxn ang="0">
                  <a:pos x="118" y="212"/>
                </a:cxn>
                <a:cxn ang="0">
                  <a:pos x="354" y="212"/>
                </a:cxn>
                <a:cxn ang="0">
                  <a:pos x="354" y="0"/>
                </a:cxn>
                <a:cxn ang="0">
                  <a:pos x="472" y="0"/>
                </a:cxn>
                <a:cxn ang="0">
                  <a:pos x="472" y="534"/>
                </a:cxn>
                <a:cxn ang="0">
                  <a:pos x="354" y="534"/>
                </a:cxn>
              </a:cxnLst>
              <a:rect l="0" t="0" r="r" b="b"/>
              <a:pathLst>
                <a:path w="472" h="534">
                  <a:moveTo>
                    <a:pt x="354" y="534"/>
                  </a:moveTo>
                  <a:lnTo>
                    <a:pt x="354" y="320"/>
                  </a:lnTo>
                  <a:lnTo>
                    <a:pt x="118" y="320"/>
                  </a:lnTo>
                  <a:lnTo>
                    <a:pt x="118" y="534"/>
                  </a:lnTo>
                  <a:lnTo>
                    <a:pt x="0" y="534"/>
                  </a:lnTo>
                  <a:lnTo>
                    <a:pt x="0" y="0"/>
                  </a:lnTo>
                  <a:lnTo>
                    <a:pt x="118" y="0"/>
                  </a:lnTo>
                  <a:lnTo>
                    <a:pt x="118" y="212"/>
                  </a:lnTo>
                  <a:lnTo>
                    <a:pt x="354" y="212"/>
                  </a:lnTo>
                  <a:lnTo>
                    <a:pt x="354" y="0"/>
                  </a:lnTo>
                  <a:lnTo>
                    <a:pt x="472" y="0"/>
                  </a:lnTo>
                  <a:lnTo>
                    <a:pt x="472" y="534"/>
                  </a:lnTo>
                  <a:lnTo>
                    <a:pt x="354" y="5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  <p:sp>
          <p:nvSpPr>
            <p:cNvPr id="32" name="Freeform 7"/>
            <p:cNvSpPr>
              <a:spLocks/>
            </p:cNvSpPr>
            <p:nvPr userDrawn="1"/>
          </p:nvSpPr>
          <p:spPr bwMode="gray">
            <a:xfrm>
              <a:off x="3544888" y="3159125"/>
              <a:ext cx="733425" cy="860425"/>
            </a:xfrm>
            <a:custGeom>
              <a:avLst/>
              <a:gdLst/>
              <a:ahLst/>
              <a:cxnLst>
                <a:cxn ang="0">
                  <a:pos x="230" y="542"/>
                </a:cxn>
                <a:cxn ang="0">
                  <a:pos x="178" y="540"/>
                </a:cxn>
                <a:cxn ang="0">
                  <a:pos x="132" y="528"/>
                </a:cxn>
                <a:cxn ang="0">
                  <a:pos x="94" y="510"/>
                </a:cxn>
                <a:cxn ang="0">
                  <a:pos x="60" y="484"/>
                </a:cxn>
                <a:cxn ang="0">
                  <a:pos x="34" y="450"/>
                </a:cxn>
                <a:cxn ang="0">
                  <a:pos x="16" y="408"/>
                </a:cxn>
                <a:cxn ang="0">
                  <a:pos x="4" y="360"/>
                </a:cxn>
                <a:cxn ang="0">
                  <a:pos x="0" y="306"/>
                </a:cxn>
                <a:cxn ang="0">
                  <a:pos x="118" y="0"/>
                </a:cxn>
                <a:cxn ang="0">
                  <a:pos x="118" y="302"/>
                </a:cxn>
                <a:cxn ang="0">
                  <a:pos x="124" y="360"/>
                </a:cxn>
                <a:cxn ang="0">
                  <a:pos x="134" y="382"/>
                </a:cxn>
                <a:cxn ang="0">
                  <a:pos x="148" y="400"/>
                </a:cxn>
                <a:cxn ang="0">
                  <a:pos x="164" y="416"/>
                </a:cxn>
                <a:cxn ang="0">
                  <a:pos x="182" y="426"/>
                </a:cxn>
                <a:cxn ang="0">
                  <a:pos x="206" y="432"/>
                </a:cxn>
                <a:cxn ang="0">
                  <a:pos x="230" y="434"/>
                </a:cxn>
                <a:cxn ang="0">
                  <a:pos x="278" y="426"/>
                </a:cxn>
                <a:cxn ang="0">
                  <a:pos x="298" y="416"/>
                </a:cxn>
                <a:cxn ang="0">
                  <a:pos x="314" y="402"/>
                </a:cxn>
                <a:cxn ang="0">
                  <a:pos x="328" y="384"/>
                </a:cxn>
                <a:cxn ang="0">
                  <a:pos x="336" y="362"/>
                </a:cxn>
                <a:cxn ang="0">
                  <a:pos x="344" y="306"/>
                </a:cxn>
                <a:cxn ang="0">
                  <a:pos x="462" y="0"/>
                </a:cxn>
                <a:cxn ang="0">
                  <a:pos x="462" y="302"/>
                </a:cxn>
                <a:cxn ang="0">
                  <a:pos x="458" y="358"/>
                </a:cxn>
                <a:cxn ang="0">
                  <a:pos x="446" y="408"/>
                </a:cxn>
                <a:cxn ang="0">
                  <a:pos x="426" y="450"/>
                </a:cxn>
                <a:cxn ang="0">
                  <a:pos x="400" y="482"/>
                </a:cxn>
                <a:cxn ang="0">
                  <a:pos x="366" y="510"/>
                </a:cxn>
                <a:cxn ang="0">
                  <a:pos x="326" y="528"/>
                </a:cxn>
                <a:cxn ang="0">
                  <a:pos x="280" y="540"/>
                </a:cxn>
                <a:cxn ang="0">
                  <a:pos x="230" y="542"/>
                </a:cxn>
              </a:cxnLst>
              <a:rect l="0" t="0" r="r" b="b"/>
              <a:pathLst>
                <a:path w="462" h="542">
                  <a:moveTo>
                    <a:pt x="230" y="542"/>
                  </a:moveTo>
                  <a:lnTo>
                    <a:pt x="230" y="542"/>
                  </a:lnTo>
                  <a:lnTo>
                    <a:pt x="204" y="542"/>
                  </a:lnTo>
                  <a:lnTo>
                    <a:pt x="178" y="540"/>
                  </a:lnTo>
                  <a:lnTo>
                    <a:pt x="154" y="534"/>
                  </a:lnTo>
                  <a:lnTo>
                    <a:pt x="132" y="528"/>
                  </a:lnTo>
                  <a:lnTo>
                    <a:pt x="112" y="520"/>
                  </a:lnTo>
                  <a:lnTo>
                    <a:pt x="94" y="510"/>
                  </a:lnTo>
                  <a:lnTo>
                    <a:pt x="76" y="498"/>
                  </a:lnTo>
                  <a:lnTo>
                    <a:pt x="60" y="484"/>
                  </a:lnTo>
                  <a:lnTo>
                    <a:pt x="46" y="468"/>
                  </a:lnTo>
                  <a:lnTo>
                    <a:pt x="34" y="450"/>
                  </a:lnTo>
                  <a:lnTo>
                    <a:pt x="24" y="430"/>
                  </a:lnTo>
                  <a:lnTo>
                    <a:pt x="16" y="408"/>
                  </a:lnTo>
                  <a:lnTo>
                    <a:pt x="8" y="386"/>
                  </a:lnTo>
                  <a:lnTo>
                    <a:pt x="4" y="360"/>
                  </a:lnTo>
                  <a:lnTo>
                    <a:pt x="0" y="334"/>
                  </a:lnTo>
                  <a:lnTo>
                    <a:pt x="0" y="306"/>
                  </a:lnTo>
                  <a:lnTo>
                    <a:pt x="0" y="0"/>
                  </a:lnTo>
                  <a:lnTo>
                    <a:pt x="118" y="0"/>
                  </a:lnTo>
                  <a:lnTo>
                    <a:pt x="118" y="302"/>
                  </a:lnTo>
                  <a:lnTo>
                    <a:pt x="118" y="302"/>
                  </a:lnTo>
                  <a:lnTo>
                    <a:pt x="120" y="332"/>
                  </a:lnTo>
                  <a:lnTo>
                    <a:pt x="124" y="360"/>
                  </a:lnTo>
                  <a:lnTo>
                    <a:pt x="130" y="372"/>
                  </a:lnTo>
                  <a:lnTo>
                    <a:pt x="134" y="382"/>
                  </a:lnTo>
                  <a:lnTo>
                    <a:pt x="140" y="392"/>
                  </a:lnTo>
                  <a:lnTo>
                    <a:pt x="148" y="400"/>
                  </a:lnTo>
                  <a:lnTo>
                    <a:pt x="154" y="408"/>
                  </a:lnTo>
                  <a:lnTo>
                    <a:pt x="164" y="416"/>
                  </a:lnTo>
                  <a:lnTo>
                    <a:pt x="172" y="422"/>
                  </a:lnTo>
                  <a:lnTo>
                    <a:pt x="182" y="426"/>
                  </a:lnTo>
                  <a:lnTo>
                    <a:pt x="194" y="430"/>
                  </a:lnTo>
                  <a:lnTo>
                    <a:pt x="206" y="432"/>
                  </a:lnTo>
                  <a:lnTo>
                    <a:pt x="230" y="434"/>
                  </a:lnTo>
                  <a:lnTo>
                    <a:pt x="230" y="434"/>
                  </a:lnTo>
                  <a:lnTo>
                    <a:pt x="256" y="432"/>
                  </a:lnTo>
                  <a:lnTo>
                    <a:pt x="278" y="426"/>
                  </a:lnTo>
                  <a:lnTo>
                    <a:pt x="290" y="422"/>
                  </a:lnTo>
                  <a:lnTo>
                    <a:pt x="298" y="416"/>
                  </a:lnTo>
                  <a:lnTo>
                    <a:pt x="306" y="410"/>
                  </a:lnTo>
                  <a:lnTo>
                    <a:pt x="314" y="402"/>
                  </a:lnTo>
                  <a:lnTo>
                    <a:pt x="322" y="394"/>
                  </a:lnTo>
                  <a:lnTo>
                    <a:pt x="328" y="384"/>
                  </a:lnTo>
                  <a:lnTo>
                    <a:pt x="332" y="374"/>
                  </a:lnTo>
                  <a:lnTo>
                    <a:pt x="336" y="362"/>
                  </a:lnTo>
                  <a:lnTo>
                    <a:pt x="342" y="336"/>
                  </a:lnTo>
                  <a:lnTo>
                    <a:pt x="344" y="306"/>
                  </a:lnTo>
                  <a:lnTo>
                    <a:pt x="344" y="0"/>
                  </a:lnTo>
                  <a:lnTo>
                    <a:pt x="462" y="0"/>
                  </a:lnTo>
                  <a:lnTo>
                    <a:pt x="462" y="302"/>
                  </a:lnTo>
                  <a:lnTo>
                    <a:pt x="462" y="302"/>
                  </a:lnTo>
                  <a:lnTo>
                    <a:pt x="462" y="330"/>
                  </a:lnTo>
                  <a:lnTo>
                    <a:pt x="458" y="358"/>
                  </a:lnTo>
                  <a:lnTo>
                    <a:pt x="454" y="384"/>
                  </a:lnTo>
                  <a:lnTo>
                    <a:pt x="446" y="408"/>
                  </a:lnTo>
                  <a:lnTo>
                    <a:pt x="438" y="430"/>
                  </a:lnTo>
                  <a:lnTo>
                    <a:pt x="426" y="450"/>
                  </a:lnTo>
                  <a:lnTo>
                    <a:pt x="414" y="466"/>
                  </a:lnTo>
                  <a:lnTo>
                    <a:pt x="400" y="482"/>
                  </a:lnTo>
                  <a:lnTo>
                    <a:pt x="384" y="498"/>
                  </a:lnTo>
                  <a:lnTo>
                    <a:pt x="366" y="510"/>
                  </a:lnTo>
                  <a:lnTo>
                    <a:pt x="348" y="520"/>
                  </a:lnTo>
                  <a:lnTo>
                    <a:pt x="326" y="528"/>
                  </a:lnTo>
                  <a:lnTo>
                    <a:pt x="304" y="534"/>
                  </a:lnTo>
                  <a:lnTo>
                    <a:pt x="280" y="540"/>
                  </a:lnTo>
                  <a:lnTo>
                    <a:pt x="256" y="542"/>
                  </a:lnTo>
                  <a:lnTo>
                    <a:pt x="230" y="54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  <p:sp>
          <p:nvSpPr>
            <p:cNvPr id="33" name="Freeform 8"/>
            <p:cNvSpPr>
              <a:spLocks/>
            </p:cNvSpPr>
            <p:nvPr userDrawn="1"/>
          </p:nvSpPr>
          <p:spPr bwMode="gray">
            <a:xfrm>
              <a:off x="3544888" y="3159125"/>
              <a:ext cx="733425" cy="860425"/>
            </a:xfrm>
            <a:custGeom>
              <a:avLst/>
              <a:gdLst/>
              <a:ahLst/>
              <a:cxnLst>
                <a:cxn ang="0">
                  <a:pos x="230" y="542"/>
                </a:cxn>
                <a:cxn ang="0">
                  <a:pos x="178" y="540"/>
                </a:cxn>
                <a:cxn ang="0">
                  <a:pos x="132" y="528"/>
                </a:cxn>
                <a:cxn ang="0">
                  <a:pos x="94" y="510"/>
                </a:cxn>
                <a:cxn ang="0">
                  <a:pos x="60" y="484"/>
                </a:cxn>
                <a:cxn ang="0">
                  <a:pos x="34" y="450"/>
                </a:cxn>
                <a:cxn ang="0">
                  <a:pos x="16" y="408"/>
                </a:cxn>
                <a:cxn ang="0">
                  <a:pos x="4" y="360"/>
                </a:cxn>
                <a:cxn ang="0">
                  <a:pos x="0" y="306"/>
                </a:cxn>
                <a:cxn ang="0">
                  <a:pos x="118" y="0"/>
                </a:cxn>
                <a:cxn ang="0">
                  <a:pos x="118" y="302"/>
                </a:cxn>
                <a:cxn ang="0">
                  <a:pos x="124" y="360"/>
                </a:cxn>
                <a:cxn ang="0">
                  <a:pos x="134" y="382"/>
                </a:cxn>
                <a:cxn ang="0">
                  <a:pos x="148" y="400"/>
                </a:cxn>
                <a:cxn ang="0">
                  <a:pos x="164" y="416"/>
                </a:cxn>
                <a:cxn ang="0">
                  <a:pos x="182" y="426"/>
                </a:cxn>
                <a:cxn ang="0">
                  <a:pos x="206" y="432"/>
                </a:cxn>
                <a:cxn ang="0">
                  <a:pos x="230" y="434"/>
                </a:cxn>
                <a:cxn ang="0">
                  <a:pos x="278" y="426"/>
                </a:cxn>
                <a:cxn ang="0">
                  <a:pos x="298" y="416"/>
                </a:cxn>
                <a:cxn ang="0">
                  <a:pos x="314" y="402"/>
                </a:cxn>
                <a:cxn ang="0">
                  <a:pos x="328" y="384"/>
                </a:cxn>
                <a:cxn ang="0">
                  <a:pos x="336" y="362"/>
                </a:cxn>
                <a:cxn ang="0">
                  <a:pos x="344" y="306"/>
                </a:cxn>
                <a:cxn ang="0">
                  <a:pos x="462" y="0"/>
                </a:cxn>
                <a:cxn ang="0">
                  <a:pos x="462" y="302"/>
                </a:cxn>
                <a:cxn ang="0">
                  <a:pos x="458" y="358"/>
                </a:cxn>
                <a:cxn ang="0">
                  <a:pos x="446" y="408"/>
                </a:cxn>
                <a:cxn ang="0">
                  <a:pos x="426" y="450"/>
                </a:cxn>
                <a:cxn ang="0">
                  <a:pos x="400" y="482"/>
                </a:cxn>
                <a:cxn ang="0">
                  <a:pos x="366" y="510"/>
                </a:cxn>
                <a:cxn ang="0">
                  <a:pos x="326" y="528"/>
                </a:cxn>
                <a:cxn ang="0">
                  <a:pos x="280" y="540"/>
                </a:cxn>
                <a:cxn ang="0">
                  <a:pos x="230" y="542"/>
                </a:cxn>
              </a:cxnLst>
              <a:rect l="0" t="0" r="r" b="b"/>
              <a:pathLst>
                <a:path w="462" h="542">
                  <a:moveTo>
                    <a:pt x="230" y="542"/>
                  </a:moveTo>
                  <a:lnTo>
                    <a:pt x="230" y="542"/>
                  </a:lnTo>
                  <a:lnTo>
                    <a:pt x="204" y="542"/>
                  </a:lnTo>
                  <a:lnTo>
                    <a:pt x="178" y="540"/>
                  </a:lnTo>
                  <a:lnTo>
                    <a:pt x="154" y="534"/>
                  </a:lnTo>
                  <a:lnTo>
                    <a:pt x="132" y="528"/>
                  </a:lnTo>
                  <a:lnTo>
                    <a:pt x="112" y="520"/>
                  </a:lnTo>
                  <a:lnTo>
                    <a:pt x="94" y="510"/>
                  </a:lnTo>
                  <a:lnTo>
                    <a:pt x="76" y="498"/>
                  </a:lnTo>
                  <a:lnTo>
                    <a:pt x="60" y="484"/>
                  </a:lnTo>
                  <a:lnTo>
                    <a:pt x="46" y="468"/>
                  </a:lnTo>
                  <a:lnTo>
                    <a:pt x="34" y="450"/>
                  </a:lnTo>
                  <a:lnTo>
                    <a:pt x="24" y="430"/>
                  </a:lnTo>
                  <a:lnTo>
                    <a:pt x="16" y="408"/>
                  </a:lnTo>
                  <a:lnTo>
                    <a:pt x="8" y="386"/>
                  </a:lnTo>
                  <a:lnTo>
                    <a:pt x="4" y="360"/>
                  </a:lnTo>
                  <a:lnTo>
                    <a:pt x="0" y="334"/>
                  </a:lnTo>
                  <a:lnTo>
                    <a:pt x="0" y="306"/>
                  </a:lnTo>
                  <a:lnTo>
                    <a:pt x="0" y="0"/>
                  </a:lnTo>
                  <a:lnTo>
                    <a:pt x="118" y="0"/>
                  </a:lnTo>
                  <a:lnTo>
                    <a:pt x="118" y="302"/>
                  </a:lnTo>
                  <a:lnTo>
                    <a:pt x="118" y="302"/>
                  </a:lnTo>
                  <a:lnTo>
                    <a:pt x="120" y="332"/>
                  </a:lnTo>
                  <a:lnTo>
                    <a:pt x="124" y="360"/>
                  </a:lnTo>
                  <a:lnTo>
                    <a:pt x="130" y="372"/>
                  </a:lnTo>
                  <a:lnTo>
                    <a:pt x="134" y="382"/>
                  </a:lnTo>
                  <a:lnTo>
                    <a:pt x="140" y="392"/>
                  </a:lnTo>
                  <a:lnTo>
                    <a:pt x="148" y="400"/>
                  </a:lnTo>
                  <a:lnTo>
                    <a:pt x="154" y="408"/>
                  </a:lnTo>
                  <a:lnTo>
                    <a:pt x="164" y="416"/>
                  </a:lnTo>
                  <a:lnTo>
                    <a:pt x="172" y="422"/>
                  </a:lnTo>
                  <a:lnTo>
                    <a:pt x="182" y="426"/>
                  </a:lnTo>
                  <a:lnTo>
                    <a:pt x="194" y="430"/>
                  </a:lnTo>
                  <a:lnTo>
                    <a:pt x="206" y="432"/>
                  </a:lnTo>
                  <a:lnTo>
                    <a:pt x="230" y="434"/>
                  </a:lnTo>
                  <a:lnTo>
                    <a:pt x="230" y="434"/>
                  </a:lnTo>
                  <a:lnTo>
                    <a:pt x="256" y="432"/>
                  </a:lnTo>
                  <a:lnTo>
                    <a:pt x="278" y="426"/>
                  </a:lnTo>
                  <a:lnTo>
                    <a:pt x="290" y="422"/>
                  </a:lnTo>
                  <a:lnTo>
                    <a:pt x="298" y="416"/>
                  </a:lnTo>
                  <a:lnTo>
                    <a:pt x="306" y="410"/>
                  </a:lnTo>
                  <a:lnTo>
                    <a:pt x="314" y="402"/>
                  </a:lnTo>
                  <a:lnTo>
                    <a:pt x="322" y="394"/>
                  </a:lnTo>
                  <a:lnTo>
                    <a:pt x="328" y="384"/>
                  </a:lnTo>
                  <a:lnTo>
                    <a:pt x="332" y="374"/>
                  </a:lnTo>
                  <a:lnTo>
                    <a:pt x="336" y="362"/>
                  </a:lnTo>
                  <a:lnTo>
                    <a:pt x="342" y="336"/>
                  </a:lnTo>
                  <a:lnTo>
                    <a:pt x="344" y="306"/>
                  </a:lnTo>
                  <a:lnTo>
                    <a:pt x="344" y="0"/>
                  </a:lnTo>
                  <a:lnTo>
                    <a:pt x="462" y="0"/>
                  </a:lnTo>
                  <a:lnTo>
                    <a:pt x="462" y="302"/>
                  </a:lnTo>
                  <a:lnTo>
                    <a:pt x="462" y="302"/>
                  </a:lnTo>
                  <a:lnTo>
                    <a:pt x="462" y="330"/>
                  </a:lnTo>
                  <a:lnTo>
                    <a:pt x="458" y="358"/>
                  </a:lnTo>
                  <a:lnTo>
                    <a:pt x="454" y="384"/>
                  </a:lnTo>
                  <a:lnTo>
                    <a:pt x="446" y="408"/>
                  </a:lnTo>
                  <a:lnTo>
                    <a:pt x="438" y="430"/>
                  </a:lnTo>
                  <a:lnTo>
                    <a:pt x="426" y="450"/>
                  </a:lnTo>
                  <a:lnTo>
                    <a:pt x="414" y="466"/>
                  </a:lnTo>
                  <a:lnTo>
                    <a:pt x="400" y="482"/>
                  </a:lnTo>
                  <a:lnTo>
                    <a:pt x="384" y="498"/>
                  </a:lnTo>
                  <a:lnTo>
                    <a:pt x="366" y="510"/>
                  </a:lnTo>
                  <a:lnTo>
                    <a:pt x="348" y="520"/>
                  </a:lnTo>
                  <a:lnTo>
                    <a:pt x="326" y="528"/>
                  </a:lnTo>
                  <a:lnTo>
                    <a:pt x="304" y="534"/>
                  </a:lnTo>
                  <a:lnTo>
                    <a:pt x="280" y="540"/>
                  </a:lnTo>
                  <a:lnTo>
                    <a:pt x="256" y="542"/>
                  </a:lnTo>
                  <a:lnTo>
                    <a:pt x="230" y="542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  <p:sp>
          <p:nvSpPr>
            <p:cNvPr id="34" name="Freeform 9"/>
            <p:cNvSpPr>
              <a:spLocks/>
            </p:cNvSpPr>
            <p:nvPr userDrawn="1"/>
          </p:nvSpPr>
          <p:spPr bwMode="gray">
            <a:xfrm>
              <a:off x="2627313" y="2139950"/>
              <a:ext cx="847725" cy="850900"/>
            </a:xfrm>
            <a:custGeom>
              <a:avLst/>
              <a:gdLst/>
              <a:ahLst/>
              <a:cxnLst>
                <a:cxn ang="0">
                  <a:pos x="418" y="536"/>
                </a:cxn>
                <a:cxn ang="0">
                  <a:pos x="418" y="186"/>
                </a:cxn>
                <a:cxn ang="0">
                  <a:pos x="268" y="414"/>
                </a:cxn>
                <a:cxn ang="0">
                  <a:pos x="264" y="414"/>
                </a:cxn>
                <a:cxn ang="0">
                  <a:pos x="116" y="188"/>
                </a:cxn>
                <a:cxn ang="0">
                  <a:pos x="116" y="536"/>
                </a:cxn>
                <a:cxn ang="0">
                  <a:pos x="0" y="536"/>
                </a:cxn>
                <a:cxn ang="0">
                  <a:pos x="0" y="0"/>
                </a:cxn>
                <a:cxn ang="0">
                  <a:pos x="126" y="0"/>
                </a:cxn>
                <a:cxn ang="0">
                  <a:pos x="268" y="226"/>
                </a:cxn>
                <a:cxn ang="0">
                  <a:pos x="408" y="0"/>
                </a:cxn>
                <a:cxn ang="0">
                  <a:pos x="534" y="0"/>
                </a:cxn>
                <a:cxn ang="0">
                  <a:pos x="534" y="536"/>
                </a:cxn>
                <a:cxn ang="0">
                  <a:pos x="418" y="536"/>
                </a:cxn>
              </a:cxnLst>
              <a:rect l="0" t="0" r="r" b="b"/>
              <a:pathLst>
                <a:path w="534" h="536">
                  <a:moveTo>
                    <a:pt x="418" y="536"/>
                  </a:moveTo>
                  <a:lnTo>
                    <a:pt x="418" y="186"/>
                  </a:lnTo>
                  <a:lnTo>
                    <a:pt x="268" y="414"/>
                  </a:lnTo>
                  <a:lnTo>
                    <a:pt x="264" y="414"/>
                  </a:lnTo>
                  <a:lnTo>
                    <a:pt x="116" y="188"/>
                  </a:lnTo>
                  <a:lnTo>
                    <a:pt x="116" y="536"/>
                  </a:lnTo>
                  <a:lnTo>
                    <a:pt x="0" y="536"/>
                  </a:lnTo>
                  <a:lnTo>
                    <a:pt x="0" y="0"/>
                  </a:lnTo>
                  <a:lnTo>
                    <a:pt x="126" y="0"/>
                  </a:lnTo>
                  <a:lnTo>
                    <a:pt x="268" y="226"/>
                  </a:lnTo>
                  <a:lnTo>
                    <a:pt x="408" y="0"/>
                  </a:lnTo>
                  <a:lnTo>
                    <a:pt x="534" y="0"/>
                  </a:lnTo>
                  <a:lnTo>
                    <a:pt x="534" y="536"/>
                  </a:lnTo>
                  <a:lnTo>
                    <a:pt x="418" y="5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  <p:sp>
          <p:nvSpPr>
            <p:cNvPr id="35" name="Freeform 10"/>
            <p:cNvSpPr>
              <a:spLocks/>
            </p:cNvSpPr>
            <p:nvPr userDrawn="1"/>
          </p:nvSpPr>
          <p:spPr bwMode="gray">
            <a:xfrm>
              <a:off x="4535488" y="2139950"/>
              <a:ext cx="781050" cy="850900"/>
            </a:xfrm>
            <a:custGeom>
              <a:avLst/>
              <a:gdLst/>
              <a:ahLst/>
              <a:cxnLst>
                <a:cxn ang="0">
                  <a:pos x="392" y="536"/>
                </a:cxn>
                <a:cxn ang="0">
                  <a:pos x="118" y="194"/>
                </a:cxn>
                <a:cxn ang="0">
                  <a:pos x="118" y="536"/>
                </a:cxn>
                <a:cxn ang="0">
                  <a:pos x="0" y="536"/>
                </a:cxn>
                <a:cxn ang="0">
                  <a:pos x="0" y="0"/>
                </a:cxn>
                <a:cxn ang="0">
                  <a:pos x="110" y="0"/>
                </a:cxn>
                <a:cxn ang="0">
                  <a:pos x="376" y="330"/>
                </a:cxn>
                <a:cxn ang="0">
                  <a:pos x="376" y="0"/>
                </a:cxn>
                <a:cxn ang="0">
                  <a:pos x="492" y="0"/>
                </a:cxn>
                <a:cxn ang="0">
                  <a:pos x="492" y="536"/>
                </a:cxn>
                <a:cxn ang="0">
                  <a:pos x="392" y="536"/>
                </a:cxn>
              </a:cxnLst>
              <a:rect l="0" t="0" r="r" b="b"/>
              <a:pathLst>
                <a:path w="492" h="536">
                  <a:moveTo>
                    <a:pt x="392" y="536"/>
                  </a:moveTo>
                  <a:lnTo>
                    <a:pt x="118" y="194"/>
                  </a:lnTo>
                  <a:lnTo>
                    <a:pt x="118" y="536"/>
                  </a:lnTo>
                  <a:lnTo>
                    <a:pt x="0" y="536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376" y="330"/>
                  </a:lnTo>
                  <a:lnTo>
                    <a:pt x="376" y="0"/>
                  </a:lnTo>
                  <a:lnTo>
                    <a:pt x="492" y="0"/>
                  </a:lnTo>
                  <a:lnTo>
                    <a:pt x="492" y="536"/>
                  </a:lnTo>
                  <a:lnTo>
                    <a:pt x="392" y="5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  <p:sp>
          <p:nvSpPr>
            <p:cNvPr id="36" name="Freeform 11"/>
            <p:cNvSpPr>
              <a:spLocks/>
            </p:cNvSpPr>
            <p:nvPr userDrawn="1"/>
          </p:nvSpPr>
          <p:spPr bwMode="gray">
            <a:xfrm>
              <a:off x="5475288" y="2139950"/>
              <a:ext cx="777875" cy="850900"/>
            </a:xfrm>
            <a:custGeom>
              <a:avLst/>
              <a:gdLst/>
              <a:ahLst/>
              <a:cxnLst>
                <a:cxn ang="0">
                  <a:pos x="390" y="536"/>
                </a:cxn>
                <a:cxn ang="0">
                  <a:pos x="116" y="194"/>
                </a:cxn>
                <a:cxn ang="0">
                  <a:pos x="116" y="536"/>
                </a:cxn>
                <a:cxn ang="0">
                  <a:pos x="0" y="536"/>
                </a:cxn>
                <a:cxn ang="0">
                  <a:pos x="0" y="0"/>
                </a:cxn>
                <a:cxn ang="0">
                  <a:pos x="110" y="0"/>
                </a:cxn>
                <a:cxn ang="0">
                  <a:pos x="374" y="330"/>
                </a:cxn>
                <a:cxn ang="0">
                  <a:pos x="374" y="0"/>
                </a:cxn>
                <a:cxn ang="0">
                  <a:pos x="490" y="0"/>
                </a:cxn>
                <a:cxn ang="0">
                  <a:pos x="490" y="536"/>
                </a:cxn>
                <a:cxn ang="0">
                  <a:pos x="390" y="536"/>
                </a:cxn>
              </a:cxnLst>
              <a:rect l="0" t="0" r="r" b="b"/>
              <a:pathLst>
                <a:path w="490" h="536">
                  <a:moveTo>
                    <a:pt x="390" y="536"/>
                  </a:moveTo>
                  <a:lnTo>
                    <a:pt x="116" y="194"/>
                  </a:lnTo>
                  <a:lnTo>
                    <a:pt x="116" y="536"/>
                  </a:lnTo>
                  <a:lnTo>
                    <a:pt x="0" y="536"/>
                  </a:lnTo>
                  <a:lnTo>
                    <a:pt x="0" y="0"/>
                  </a:lnTo>
                  <a:lnTo>
                    <a:pt x="110" y="0"/>
                  </a:lnTo>
                  <a:lnTo>
                    <a:pt x="374" y="330"/>
                  </a:lnTo>
                  <a:lnTo>
                    <a:pt x="374" y="0"/>
                  </a:lnTo>
                  <a:lnTo>
                    <a:pt x="490" y="0"/>
                  </a:lnTo>
                  <a:lnTo>
                    <a:pt x="490" y="536"/>
                  </a:lnTo>
                  <a:lnTo>
                    <a:pt x="390" y="53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  <p:sp>
          <p:nvSpPr>
            <p:cNvPr id="37" name="Freeform 12"/>
            <p:cNvSpPr>
              <a:spLocks/>
            </p:cNvSpPr>
            <p:nvPr userDrawn="1"/>
          </p:nvSpPr>
          <p:spPr bwMode="gray">
            <a:xfrm>
              <a:off x="4446588" y="3159125"/>
              <a:ext cx="822325" cy="847725"/>
            </a:xfrm>
            <a:custGeom>
              <a:avLst/>
              <a:gdLst/>
              <a:ahLst/>
              <a:cxnLst>
                <a:cxn ang="0">
                  <a:pos x="402" y="534"/>
                </a:cxn>
                <a:cxn ang="0">
                  <a:pos x="402" y="186"/>
                </a:cxn>
                <a:cxn ang="0">
                  <a:pos x="258" y="414"/>
                </a:cxn>
                <a:cxn ang="0">
                  <a:pos x="256" y="414"/>
                </a:cxn>
                <a:cxn ang="0">
                  <a:pos x="114" y="188"/>
                </a:cxn>
                <a:cxn ang="0">
                  <a:pos x="114" y="534"/>
                </a:cxn>
                <a:cxn ang="0">
                  <a:pos x="0" y="534"/>
                </a:cxn>
                <a:cxn ang="0">
                  <a:pos x="0" y="0"/>
                </a:cxn>
                <a:cxn ang="0">
                  <a:pos x="126" y="0"/>
                </a:cxn>
                <a:cxn ang="0">
                  <a:pos x="258" y="226"/>
                </a:cxn>
                <a:cxn ang="0">
                  <a:pos x="392" y="0"/>
                </a:cxn>
                <a:cxn ang="0">
                  <a:pos x="518" y="0"/>
                </a:cxn>
                <a:cxn ang="0">
                  <a:pos x="518" y="534"/>
                </a:cxn>
                <a:cxn ang="0">
                  <a:pos x="402" y="534"/>
                </a:cxn>
              </a:cxnLst>
              <a:rect l="0" t="0" r="r" b="b"/>
              <a:pathLst>
                <a:path w="518" h="534">
                  <a:moveTo>
                    <a:pt x="402" y="534"/>
                  </a:moveTo>
                  <a:lnTo>
                    <a:pt x="402" y="186"/>
                  </a:lnTo>
                  <a:lnTo>
                    <a:pt x="258" y="414"/>
                  </a:lnTo>
                  <a:lnTo>
                    <a:pt x="256" y="414"/>
                  </a:lnTo>
                  <a:lnTo>
                    <a:pt x="114" y="188"/>
                  </a:lnTo>
                  <a:lnTo>
                    <a:pt x="114" y="534"/>
                  </a:lnTo>
                  <a:lnTo>
                    <a:pt x="0" y="534"/>
                  </a:lnTo>
                  <a:lnTo>
                    <a:pt x="0" y="0"/>
                  </a:lnTo>
                  <a:lnTo>
                    <a:pt x="126" y="0"/>
                  </a:lnTo>
                  <a:lnTo>
                    <a:pt x="258" y="226"/>
                  </a:lnTo>
                  <a:lnTo>
                    <a:pt x="392" y="0"/>
                  </a:lnTo>
                  <a:lnTo>
                    <a:pt x="518" y="0"/>
                  </a:lnTo>
                  <a:lnTo>
                    <a:pt x="518" y="534"/>
                  </a:lnTo>
                  <a:lnTo>
                    <a:pt x="402" y="5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  <p:sp>
          <p:nvSpPr>
            <p:cNvPr id="38" name="Freeform 13"/>
            <p:cNvSpPr>
              <a:spLocks/>
            </p:cNvSpPr>
            <p:nvPr userDrawn="1"/>
          </p:nvSpPr>
          <p:spPr bwMode="gray">
            <a:xfrm>
              <a:off x="5430838" y="3159125"/>
              <a:ext cx="825500" cy="847725"/>
            </a:xfrm>
            <a:custGeom>
              <a:avLst/>
              <a:gdLst/>
              <a:ahLst/>
              <a:cxnLst>
                <a:cxn ang="0">
                  <a:pos x="402" y="534"/>
                </a:cxn>
                <a:cxn ang="0">
                  <a:pos x="402" y="186"/>
                </a:cxn>
                <a:cxn ang="0">
                  <a:pos x="260" y="414"/>
                </a:cxn>
                <a:cxn ang="0">
                  <a:pos x="258" y="414"/>
                </a:cxn>
                <a:cxn ang="0">
                  <a:pos x="116" y="188"/>
                </a:cxn>
                <a:cxn ang="0">
                  <a:pos x="116" y="534"/>
                </a:cxn>
                <a:cxn ang="0">
                  <a:pos x="0" y="534"/>
                </a:cxn>
                <a:cxn ang="0">
                  <a:pos x="0" y="0"/>
                </a:cxn>
                <a:cxn ang="0">
                  <a:pos x="128" y="0"/>
                </a:cxn>
                <a:cxn ang="0">
                  <a:pos x="260" y="226"/>
                </a:cxn>
                <a:cxn ang="0">
                  <a:pos x="392" y="0"/>
                </a:cxn>
                <a:cxn ang="0">
                  <a:pos x="520" y="0"/>
                </a:cxn>
                <a:cxn ang="0">
                  <a:pos x="520" y="534"/>
                </a:cxn>
                <a:cxn ang="0">
                  <a:pos x="402" y="534"/>
                </a:cxn>
              </a:cxnLst>
              <a:rect l="0" t="0" r="r" b="b"/>
              <a:pathLst>
                <a:path w="520" h="534">
                  <a:moveTo>
                    <a:pt x="402" y="534"/>
                  </a:moveTo>
                  <a:lnTo>
                    <a:pt x="402" y="186"/>
                  </a:lnTo>
                  <a:lnTo>
                    <a:pt x="260" y="414"/>
                  </a:lnTo>
                  <a:lnTo>
                    <a:pt x="258" y="414"/>
                  </a:lnTo>
                  <a:lnTo>
                    <a:pt x="116" y="188"/>
                  </a:lnTo>
                  <a:lnTo>
                    <a:pt x="116" y="534"/>
                  </a:lnTo>
                  <a:lnTo>
                    <a:pt x="0" y="534"/>
                  </a:lnTo>
                  <a:lnTo>
                    <a:pt x="0" y="0"/>
                  </a:lnTo>
                  <a:lnTo>
                    <a:pt x="128" y="0"/>
                  </a:lnTo>
                  <a:lnTo>
                    <a:pt x="260" y="226"/>
                  </a:lnTo>
                  <a:lnTo>
                    <a:pt x="392" y="0"/>
                  </a:lnTo>
                  <a:lnTo>
                    <a:pt x="520" y="0"/>
                  </a:lnTo>
                  <a:lnTo>
                    <a:pt x="520" y="534"/>
                  </a:lnTo>
                  <a:lnTo>
                    <a:pt x="402" y="5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  <p:sp>
          <p:nvSpPr>
            <p:cNvPr id="39" name="Freeform 14"/>
            <p:cNvSpPr>
              <a:spLocks/>
            </p:cNvSpPr>
            <p:nvPr userDrawn="1"/>
          </p:nvSpPr>
          <p:spPr bwMode="gray">
            <a:xfrm>
              <a:off x="6415088" y="3159125"/>
              <a:ext cx="650875" cy="847725"/>
            </a:xfrm>
            <a:custGeom>
              <a:avLst/>
              <a:gdLst/>
              <a:ahLst/>
              <a:cxnLst>
                <a:cxn ang="0">
                  <a:pos x="0" y="534"/>
                </a:cxn>
                <a:cxn ang="0">
                  <a:pos x="0" y="0"/>
                </a:cxn>
                <a:cxn ang="0">
                  <a:pos x="410" y="0"/>
                </a:cxn>
                <a:cxn ang="0">
                  <a:pos x="410" y="104"/>
                </a:cxn>
                <a:cxn ang="0">
                  <a:pos x="118" y="104"/>
                </a:cxn>
                <a:cxn ang="0">
                  <a:pos x="118" y="212"/>
                </a:cxn>
                <a:cxn ang="0">
                  <a:pos x="378" y="212"/>
                </a:cxn>
                <a:cxn ang="0">
                  <a:pos x="378" y="318"/>
                </a:cxn>
                <a:cxn ang="0">
                  <a:pos x="118" y="318"/>
                </a:cxn>
                <a:cxn ang="0">
                  <a:pos x="118" y="430"/>
                </a:cxn>
                <a:cxn ang="0">
                  <a:pos x="410" y="430"/>
                </a:cxn>
                <a:cxn ang="0">
                  <a:pos x="410" y="534"/>
                </a:cxn>
                <a:cxn ang="0">
                  <a:pos x="0" y="534"/>
                </a:cxn>
              </a:cxnLst>
              <a:rect l="0" t="0" r="r" b="b"/>
              <a:pathLst>
                <a:path w="410" h="534">
                  <a:moveTo>
                    <a:pt x="0" y="534"/>
                  </a:moveTo>
                  <a:lnTo>
                    <a:pt x="0" y="0"/>
                  </a:lnTo>
                  <a:lnTo>
                    <a:pt x="410" y="0"/>
                  </a:lnTo>
                  <a:lnTo>
                    <a:pt x="410" y="104"/>
                  </a:lnTo>
                  <a:lnTo>
                    <a:pt x="118" y="104"/>
                  </a:lnTo>
                  <a:lnTo>
                    <a:pt x="118" y="212"/>
                  </a:lnTo>
                  <a:lnTo>
                    <a:pt x="378" y="212"/>
                  </a:lnTo>
                  <a:lnTo>
                    <a:pt x="378" y="318"/>
                  </a:lnTo>
                  <a:lnTo>
                    <a:pt x="118" y="318"/>
                  </a:lnTo>
                  <a:lnTo>
                    <a:pt x="118" y="430"/>
                  </a:lnTo>
                  <a:lnTo>
                    <a:pt x="410" y="430"/>
                  </a:lnTo>
                  <a:lnTo>
                    <a:pt x="410" y="534"/>
                  </a:lnTo>
                  <a:lnTo>
                    <a:pt x="0" y="5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  <p:sp>
          <p:nvSpPr>
            <p:cNvPr id="40" name="Freeform 15"/>
            <p:cNvSpPr>
              <a:spLocks/>
            </p:cNvSpPr>
            <p:nvPr userDrawn="1"/>
          </p:nvSpPr>
          <p:spPr bwMode="gray">
            <a:xfrm>
              <a:off x="7227888" y="3159125"/>
              <a:ext cx="609600" cy="847725"/>
            </a:xfrm>
            <a:custGeom>
              <a:avLst/>
              <a:gdLst/>
              <a:ahLst/>
              <a:cxnLst>
                <a:cxn ang="0">
                  <a:pos x="0" y="534"/>
                </a:cxn>
                <a:cxn ang="0">
                  <a:pos x="0" y="0"/>
                </a:cxn>
                <a:cxn ang="0">
                  <a:pos x="116" y="0"/>
                </a:cxn>
                <a:cxn ang="0">
                  <a:pos x="116" y="428"/>
                </a:cxn>
                <a:cxn ang="0">
                  <a:pos x="384" y="428"/>
                </a:cxn>
                <a:cxn ang="0">
                  <a:pos x="384" y="534"/>
                </a:cxn>
                <a:cxn ang="0">
                  <a:pos x="0" y="534"/>
                </a:cxn>
              </a:cxnLst>
              <a:rect l="0" t="0" r="r" b="b"/>
              <a:pathLst>
                <a:path w="384" h="534">
                  <a:moveTo>
                    <a:pt x="0" y="534"/>
                  </a:moveTo>
                  <a:lnTo>
                    <a:pt x="0" y="0"/>
                  </a:lnTo>
                  <a:lnTo>
                    <a:pt x="116" y="0"/>
                  </a:lnTo>
                  <a:lnTo>
                    <a:pt x="116" y="428"/>
                  </a:lnTo>
                  <a:lnTo>
                    <a:pt x="384" y="428"/>
                  </a:lnTo>
                  <a:lnTo>
                    <a:pt x="384" y="534"/>
                  </a:lnTo>
                  <a:lnTo>
                    <a:pt x="0" y="5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  <p:sp>
          <p:nvSpPr>
            <p:cNvPr id="41" name="Freeform 16"/>
            <p:cNvSpPr>
              <a:spLocks noEditPoints="1"/>
            </p:cNvSpPr>
            <p:nvPr userDrawn="1"/>
          </p:nvSpPr>
          <p:spPr bwMode="gray">
            <a:xfrm>
              <a:off x="3548063" y="2133600"/>
              <a:ext cx="911225" cy="857250"/>
            </a:xfrm>
            <a:custGeom>
              <a:avLst/>
              <a:gdLst/>
              <a:ahLst/>
              <a:cxnLst>
                <a:cxn ang="0">
                  <a:pos x="212" y="316"/>
                </a:cxn>
                <a:cxn ang="0">
                  <a:pos x="286" y="142"/>
                </a:cxn>
                <a:cxn ang="0">
                  <a:pos x="360" y="316"/>
                </a:cxn>
                <a:cxn ang="0">
                  <a:pos x="212" y="316"/>
                </a:cxn>
                <a:cxn ang="0">
                  <a:pos x="342" y="0"/>
                </a:cxn>
                <a:cxn ang="0">
                  <a:pos x="232" y="0"/>
                </a:cxn>
                <a:cxn ang="0">
                  <a:pos x="0" y="540"/>
                </a:cxn>
                <a:cxn ang="0">
                  <a:pos x="120" y="540"/>
                </a:cxn>
                <a:cxn ang="0">
                  <a:pos x="170" y="420"/>
                </a:cxn>
                <a:cxn ang="0">
                  <a:pos x="402" y="420"/>
                </a:cxn>
                <a:cxn ang="0">
                  <a:pos x="452" y="540"/>
                </a:cxn>
                <a:cxn ang="0">
                  <a:pos x="574" y="540"/>
                </a:cxn>
                <a:cxn ang="0">
                  <a:pos x="342" y="0"/>
                </a:cxn>
              </a:cxnLst>
              <a:rect l="0" t="0" r="r" b="b"/>
              <a:pathLst>
                <a:path w="574" h="540">
                  <a:moveTo>
                    <a:pt x="212" y="316"/>
                  </a:moveTo>
                  <a:lnTo>
                    <a:pt x="286" y="142"/>
                  </a:lnTo>
                  <a:lnTo>
                    <a:pt x="360" y="316"/>
                  </a:lnTo>
                  <a:lnTo>
                    <a:pt x="212" y="316"/>
                  </a:lnTo>
                  <a:close/>
                  <a:moveTo>
                    <a:pt x="342" y="0"/>
                  </a:moveTo>
                  <a:lnTo>
                    <a:pt x="232" y="0"/>
                  </a:lnTo>
                  <a:lnTo>
                    <a:pt x="0" y="540"/>
                  </a:lnTo>
                  <a:lnTo>
                    <a:pt x="120" y="540"/>
                  </a:lnTo>
                  <a:lnTo>
                    <a:pt x="170" y="420"/>
                  </a:lnTo>
                  <a:lnTo>
                    <a:pt x="402" y="420"/>
                  </a:lnTo>
                  <a:lnTo>
                    <a:pt x="452" y="540"/>
                  </a:lnTo>
                  <a:lnTo>
                    <a:pt x="574" y="540"/>
                  </a:lnTo>
                  <a:lnTo>
                    <a:pt x="34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  <p:sp>
          <p:nvSpPr>
            <p:cNvPr id="42" name="Freeform 17"/>
            <p:cNvSpPr>
              <a:spLocks/>
            </p:cNvSpPr>
            <p:nvPr userDrawn="1"/>
          </p:nvSpPr>
          <p:spPr bwMode="gray">
            <a:xfrm>
              <a:off x="6538913" y="2139950"/>
              <a:ext cx="873125" cy="850900"/>
            </a:xfrm>
            <a:custGeom>
              <a:avLst/>
              <a:gdLst/>
              <a:ahLst/>
              <a:cxnLst>
                <a:cxn ang="0">
                  <a:pos x="550" y="212"/>
                </a:cxn>
                <a:cxn ang="0">
                  <a:pos x="332" y="212"/>
                </a:cxn>
                <a:cxn ang="0">
                  <a:pos x="332" y="0"/>
                </a:cxn>
                <a:cxn ang="0">
                  <a:pos x="220" y="0"/>
                </a:cxn>
                <a:cxn ang="0">
                  <a:pos x="220" y="212"/>
                </a:cxn>
                <a:cxn ang="0">
                  <a:pos x="0" y="212"/>
                </a:cxn>
                <a:cxn ang="0">
                  <a:pos x="0" y="322"/>
                </a:cxn>
                <a:cxn ang="0">
                  <a:pos x="220" y="322"/>
                </a:cxn>
                <a:cxn ang="0">
                  <a:pos x="220" y="536"/>
                </a:cxn>
                <a:cxn ang="0">
                  <a:pos x="332" y="536"/>
                </a:cxn>
                <a:cxn ang="0">
                  <a:pos x="332" y="322"/>
                </a:cxn>
                <a:cxn ang="0">
                  <a:pos x="550" y="322"/>
                </a:cxn>
                <a:cxn ang="0">
                  <a:pos x="550" y="212"/>
                </a:cxn>
              </a:cxnLst>
              <a:rect l="0" t="0" r="r" b="b"/>
              <a:pathLst>
                <a:path w="550" h="536">
                  <a:moveTo>
                    <a:pt x="550" y="212"/>
                  </a:moveTo>
                  <a:lnTo>
                    <a:pt x="332" y="212"/>
                  </a:lnTo>
                  <a:lnTo>
                    <a:pt x="332" y="0"/>
                  </a:lnTo>
                  <a:lnTo>
                    <a:pt x="220" y="0"/>
                  </a:lnTo>
                  <a:lnTo>
                    <a:pt x="220" y="212"/>
                  </a:lnTo>
                  <a:lnTo>
                    <a:pt x="0" y="212"/>
                  </a:lnTo>
                  <a:lnTo>
                    <a:pt x="0" y="322"/>
                  </a:lnTo>
                  <a:lnTo>
                    <a:pt x="220" y="322"/>
                  </a:lnTo>
                  <a:lnTo>
                    <a:pt x="220" y="536"/>
                  </a:lnTo>
                  <a:lnTo>
                    <a:pt x="332" y="536"/>
                  </a:lnTo>
                  <a:lnTo>
                    <a:pt x="332" y="322"/>
                  </a:lnTo>
                  <a:lnTo>
                    <a:pt x="550" y="322"/>
                  </a:lnTo>
                  <a:lnTo>
                    <a:pt x="550" y="2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C3C3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3079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4151819" y="2761657"/>
            <a:ext cx="6695920" cy="615553"/>
          </a:xfrm>
          <a:noFill/>
        </p:spPr>
        <p:txBody>
          <a:bodyPr anchor="ctr"/>
          <a:lstStyle>
            <a:lvl1pPr algn="l">
              <a:defRPr sz="3999" b="0">
                <a:solidFill>
                  <a:schemeClr val="accent2"/>
                </a:solidFill>
              </a:defRPr>
            </a:lvl1pPr>
          </a:lstStyle>
          <a:p>
            <a:r>
              <a:rPr lang="en-US" noProof="0" dirty="0" smtClean="0"/>
              <a:t>Thank you!</a:t>
            </a:r>
            <a:endParaRPr lang="en-US" noProof="0" dirty="0"/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193624" y="6237312"/>
            <a:ext cx="5254472" cy="504056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6646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/>
          <p:cNvSpPr/>
          <p:nvPr userDrawn="1"/>
        </p:nvSpPr>
        <p:spPr bwMode="gray">
          <a:xfrm>
            <a:off x="193625" y="6237312"/>
            <a:ext cx="5182482" cy="620688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" y="908840"/>
            <a:ext cx="1097625" cy="1032384"/>
          </a:xfrm>
          <a:solidFill>
            <a:schemeClr val="accent2"/>
          </a:solidFill>
        </p:spPr>
        <p:txBody>
          <a:bodyPr wrap="square" lIns="432000" tIns="54000" rIns="144000" bIns="54000">
            <a:spAutoFit/>
          </a:bodyPr>
          <a:lstStyle>
            <a:lvl1pPr marL="0" algn="l">
              <a:spcAft>
                <a:spcPts val="0"/>
              </a:spcAft>
              <a:buFontTx/>
              <a:buNone/>
              <a:defRPr sz="5998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FontTx/>
              <a:buNone/>
              <a:defRPr sz="47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0</a:t>
            </a:r>
            <a:endParaRPr lang="en-US" noProof="0" dirty="0"/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 bwMode="gray">
          <a:xfrm>
            <a:off x="552307" y="4016680"/>
            <a:ext cx="10295432" cy="492443"/>
          </a:xfrm>
          <a:noFill/>
        </p:spPr>
        <p:txBody>
          <a:bodyPr anchor="b"/>
          <a:lstStyle>
            <a:lvl1pPr>
              <a:defRPr sz="3199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 noProof="0" dirty="0" smtClean="0"/>
              <a:t>Chapter nam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58401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693" y="764704"/>
            <a:ext cx="10296045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Optional sub-title (in max. 2 lines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Slide title (2 lines | max. 1 line with Sub-Title)</a:t>
            </a:r>
            <a:endParaRPr lang="en-US" noProof="0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You can use this field to enter text, a table, a diagram or </a:t>
            </a:r>
            <a:r>
              <a:rPr lang="en-US" noProof="0" dirty="0" err="1" smtClean="0"/>
              <a:t>SmartArts</a:t>
            </a:r>
            <a:r>
              <a:rPr lang="en-US" noProof="0" dirty="0" smtClean="0"/>
              <a:t>. Use the buttons “Increase List Level” for </a:t>
            </a:r>
            <a:r>
              <a:rPr lang="en-US" noProof="0" dirty="0" err="1" smtClean="0"/>
              <a:t>copytext</a:t>
            </a:r>
            <a:r>
              <a:rPr lang="en-US" noProof="0" dirty="0" smtClean="0"/>
              <a:t> or bullet levels. Use the icons below to create visual content.</a:t>
            </a:r>
          </a:p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14324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859" y="764704"/>
            <a:ext cx="10295431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Optional sub-title (in max. 2 lines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Slide title (2 lines | max. 1 line with Sub-Title)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 bwMode="gray">
          <a:xfrm>
            <a:off x="552307" y="1701280"/>
            <a:ext cx="4967581" cy="4248000"/>
          </a:xfrm>
        </p:spPr>
        <p:txBody>
          <a:bodyPr/>
          <a:lstStyle/>
          <a:p>
            <a:pPr lvl="0"/>
            <a:r>
              <a:rPr lang="en-US" noProof="0" dirty="0" smtClean="0"/>
              <a:t>You can use this field to enter text, a table, a diagram or </a:t>
            </a:r>
            <a:r>
              <a:rPr lang="en-US" noProof="0" dirty="0" err="1" smtClean="0"/>
              <a:t>SmartArts</a:t>
            </a:r>
            <a:r>
              <a:rPr lang="en-US" noProof="0" dirty="0" smtClean="0"/>
              <a:t>. Use the buttons “Increase List Level” for </a:t>
            </a:r>
            <a:r>
              <a:rPr lang="en-US" noProof="0" dirty="0" err="1" smtClean="0"/>
              <a:t>copytext</a:t>
            </a:r>
            <a:r>
              <a:rPr lang="en-US" noProof="0" dirty="0" smtClean="0"/>
              <a:t> or bullet levels. Use the icons below to create visual content.</a:t>
            </a:r>
          </a:p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 bwMode="gray">
          <a:xfrm>
            <a:off x="5880157" y="1701280"/>
            <a:ext cx="4967581" cy="4248000"/>
          </a:xfrm>
        </p:spPr>
        <p:txBody>
          <a:bodyPr/>
          <a:lstStyle/>
          <a:p>
            <a:pPr lvl="0"/>
            <a:r>
              <a:rPr lang="en-US" noProof="0" dirty="0" smtClean="0"/>
              <a:t>You can use this field to enter text, a table, a diagram or </a:t>
            </a:r>
            <a:r>
              <a:rPr lang="en-US" noProof="0" dirty="0" err="1" smtClean="0"/>
              <a:t>SmartArts</a:t>
            </a:r>
            <a:r>
              <a:rPr lang="en-US" noProof="0" dirty="0" smtClean="0"/>
              <a:t>. Use the buttons “Increase List Level” for </a:t>
            </a:r>
            <a:r>
              <a:rPr lang="en-US" noProof="0" dirty="0" err="1" smtClean="0"/>
              <a:t>copytext</a:t>
            </a:r>
            <a:r>
              <a:rPr lang="en-US" noProof="0" dirty="0" smtClean="0"/>
              <a:t> or bullet levels. Use the icons below to create visual content.</a:t>
            </a:r>
          </a:p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2062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859" y="764704"/>
            <a:ext cx="10295431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Optional sub-title (in max. 2 lines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Slide title (2 lines | max. 1 line with Sub-Title)</a:t>
            </a:r>
            <a:endParaRPr lang="en-US" noProof="0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 bwMode="gray">
          <a:xfrm>
            <a:off x="552306" y="1701280"/>
            <a:ext cx="3239156" cy="4248000"/>
          </a:xfrm>
        </p:spPr>
        <p:txBody>
          <a:bodyPr/>
          <a:lstStyle/>
          <a:p>
            <a:pPr lvl="0"/>
            <a:r>
              <a:rPr lang="en-US" noProof="0" dirty="0" smtClean="0"/>
              <a:t>You can use this field to enter text, a table, a diagram or </a:t>
            </a:r>
            <a:r>
              <a:rPr lang="en-US" noProof="0" dirty="0" err="1" smtClean="0"/>
              <a:t>SmartArts</a:t>
            </a:r>
            <a:r>
              <a:rPr lang="en-US" noProof="0" dirty="0" smtClean="0"/>
              <a:t>. Use the buttons “Increase List Level” for </a:t>
            </a:r>
            <a:r>
              <a:rPr lang="en-US" noProof="0" dirty="0" err="1" smtClean="0"/>
              <a:t>copytext</a:t>
            </a:r>
            <a:r>
              <a:rPr lang="en-US" noProof="0" dirty="0" smtClean="0"/>
              <a:t> or bullet levels. Use the icons below to create visual content.</a:t>
            </a:r>
          </a:p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4151820" y="1701280"/>
            <a:ext cx="3096406" cy="4248000"/>
          </a:xfrm>
        </p:spPr>
        <p:txBody>
          <a:bodyPr/>
          <a:lstStyle/>
          <a:p>
            <a:pPr lvl="0"/>
            <a:r>
              <a:rPr lang="en-US" noProof="0" dirty="0" smtClean="0"/>
              <a:t>You can use this field to enter text, a table, a diagram or </a:t>
            </a:r>
            <a:r>
              <a:rPr lang="en-US" noProof="0" dirty="0" err="1" smtClean="0"/>
              <a:t>SmartArts</a:t>
            </a:r>
            <a:r>
              <a:rPr lang="en-US" noProof="0" dirty="0" smtClean="0"/>
              <a:t>. Use the buttons “Increase List Level” for </a:t>
            </a:r>
            <a:r>
              <a:rPr lang="en-US" noProof="0" dirty="0" err="1" smtClean="0"/>
              <a:t>copytext</a:t>
            </a:r>
            <a:r>
              <a:rPr lang="en-US" noProof="0" dirty="0" smtClean="0"/>
              <a:t> or bullet levels. Use the icons below to create visual content.</a:t>
            </a:r>
          </a:p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 hasCustomPrompt="1"/>
          </p:nvPr>
        </p:nvSpPr>
        <p:spPr bwMode="gray">
          <a:xfrm>
            <a:off x="7608494" y="1701280"/>
            <a:ext cx="3239156" cy="4248000"/>
          </a:xfrm>
        </p:spPr>
        <p:txBody>
          <a:bodyPr/>
          <a:lstStyle/>
          <a:p>
            <a:pPr lvl="0"/>
            <a:r>
              <a:rPr lang="en-US" noProof="0" dirty="0" smtClean="0"/>
              <a:t>You can use this field to enter text, a table, a diagram or </a:t>
            </a:r>
            <a:r>
              <a:rPr lang="en-US" noProof="0" dirty="0" err="1" smtClean="0"/>
              <a:t>SmartArts</a:t>
            </a:r>
            <a:r>
              <a:rPr lang="en-US" noProof="0" dirty="0" smtClean="0"/>
              <a:t>. Use the buttons “Increase List Level” for </a:t>
            </a:r>
            <a:r>
              <a:rPr lang="en-US" noProof="0" dirty="0" err="1" smtClean="0"/>
              <a:t>copytext</a:t>
            </a:r>
            <a:r>
              <a:rPr lang="en-US" noProof="0" dirty="0" smtClean="0"/>
              <a:t> or bullet levels. Use the icons below to create visual content.</a:t>
            </a:r>
          </a:p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08257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with vignet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272720" y="1700214"/>
            <a:ext cx="5975506" cy="4249737"/>
          </a:xfrm>
        </p:spPr>
        <p:txBody>
          <a:bodyPr lIns="0" tIns="0" rIns="0" bIns="0" anchor="t" anchorCtr="0">
            <a:noAutofit/>
          </a:bodyPr>
          <a:lstStyle>
            <a:lvl1pPr marL="0" algn="l">
              <a:spcAft>
                <a:spcPts val="0"/>
              </a:spcAft>
              <a:buFontTx/>
              <a:buNone/>
              <a:defRPr sz="3199" b="1" baseline="0">
                <a:solidFill>
                  <a:schemeClr val="accent1"/>
                </a:solidFill>
              </a:defRPr>
            </a:lvl1pPr>
            <a:lvl2pPr marL="0" indent="0" algn="l">
              <a:spcBef>
                <a:spcPts val="1799"/>
              </a:spcBef>
              <a:spcAft>
                <a:spcPts val="0"/>
              </a:spcAft>
              <a:buFontTx/>
              <a:buNone/>
              <a:defRPr sz="1200" b="1" baseline="0">
                <a:solidFill>
                  <a:schemeClr val="tx1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 algn="l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 algn="l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 algn="l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 algn="l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 algn="l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 algn="l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Big Text</a:t>
            </a:r>
          </a:p>
          <a:p>
            <a:pPr lvl="1"/>
            <a:r>
              <a:rPr lang="en-US" noProof="0" dirty="0" smtClean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2275157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859" y="764704"/>
            <a:ext cx="10295432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Optional sub-title (in max. 2 lines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Slide title (2 lines | max. 1 line with Sub-Title)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25013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87739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1859" y="764704"/>
            <a:ext cx="10295432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799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Optional sub-title (in max. 2 lines)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52827" y="1700808"/>
            <a:ext cx="10293319" cy="4248000"/>
          </a:xfrm>
        </p:spPr>
        <p:txBody>
          <a:bodyPr lIns="0" tIns="612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 smtClean="0"/>
              <a:t>Insert a picture he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Slide title (2 lines | max. 1 line with Sub-Title)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32923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NUL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7"/>
            </p:custDataLst>
            <p:extLst/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Folie" r:id="rId18" imgW="270" imgH="270" progId="TCLayout.ActiveDocument.1">
                  <p:embed/>
                </p:oleObj>
              </mc:Choice>
              <mc:Fallback>
                <p:oleObj name="think-cell Foli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hteck 26"/>
          <p:cNvSpPr/>
          <p:nvPr/>
        </p:nvSpPr>
        <p:spPr bwMode="gray">
          <a:xfrm>
            <a:off x="0" y="6093297"/>
            <a:ext cx="12192000" cy="764703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>
              <a:solidFill>
                <a:prstClr val="white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51695" y="332657"/>
            <a:ext cx="10296044" cy="43088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 smtClean="0"/>
              <a:t>Slide title (2 lines | max. 1 line with Sub-Title)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52827" y="1700140"/>
            <a:ext cx="10293319" cy="4249141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6</a:t>
            </a:r>
          </a:p>
          <a:p>
            <a:pPr lvl="6"/>
            <a:r>
              <a:rPr lang="en-US" noProof="0" dirty="0" smtClean="0"/>
              <a:t>7</a:t>
            </a:r>
          </a:p>
          <a:p>
            <a:pPr lvl="7"/>
            <a:r>
              <a:rPr lang="en-US" noProof="0" dirty="0" smtClean="0"/>
              <a:t>8</a:t>
            </a:r>
          </a:p>
          <a:p>
            <a:pPr lvl="8"/>
            <a:r>
              <a:rPr lang="en-US" noProof="0" dirty="0" smtClean="0"/>
              <a:t>9</a:t>
            </a:r>
            <a:endParaRPr lang="en-US" noProof="0" dirty="0"/>
          </a:p>
        </p:txBody>
      </p:sp>
      <p:cxnSp>
        <p:nvCxnSpPr>
          <p:cNvPr id="615" name="Gerade Verbindung 614"/>
          <p:cNvCxnSpPr/>
          <p:nvPr/>
        </p:nvCxnSpPr>
        <p:spPr bwMode="gray">
          <a:xfrm>
            <a:off x="-167057" y="188640"/>
            <a:ext cx="71981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6" name="Gerade Verbindung 615"/>
          <p:cNvCxnSpPr/>
          <p:nvPr/>
        </p:nvCxnSpPr>
        <p:spPr bwMode="gray">
          <a:xfrm>
            <a:off x="-167073" y="1700808"/>
            <a:ext cx="71981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7" name="Gerade Verbindung 616"/>
          <p:cNvCxnSpPr/>
          <p:nvPr/>
        </p:nvCxnSpPr>
        <p:spPr bwMode="gray">
          <a:xfrm>
            <a:off x="-167089" y="5805264"/>
            <a:ext cx="71981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7" name="Gerade Verbindung 656"/>
          <p:cNvCxnSpPr/>
          <p:nvPr/>
        </p:nvCxnSpPr>
        <p:spPr bwMode="gray">
          <a:xfrm>
            <a:off x="192881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Gerade Verbindung 657"/>
          <p:cNvCxnSpPr/>
          <p:nvPr/>
        </p:nvCxnSpPr>
        <p:spPr bwMode="gray">
          <a:xfrm>
            <a:off x="552827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Gerade Verbindung 658"/>
          <p:cNvCxnSpPr/>
          <p:nvPr/>
        </p:nvCxnSpPr>
        <p:spPr bwMode="gray">
          <a:xfrm>
            <a:off x="5520085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Gerade Verbindung 659"/>
          <p:cNvCxnSpPr/>
          <p:nvPr/>
        </p:nvCxnSpPr>
        <p:spPr bwMode="gray">
          <a:xfrm>
            <a:off x="10847290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1" name="Gerade Verbindung 660"/>
          <p:cNvCxnSpPr/>
          <p:nvPr/>
        </p:nvCxnSpPr>
        <p:spPr bwMode="gray">
          <a:xfrm>
            <a:off x="11999118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Gerade Verbindung 661"/>
          <p:cNvCxnSpPr/>
          <p:nvPr/>
        </p:nvCxnSpPr>
        <p:spPr bwMode="gray">
          <a:xfrm>
            <a:off x="5880032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/>
        </p:nvCxnSpPr>
        <p:spPr bwMode="gray">
          <a:xfrm>
            <a:off x="3792343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/>
        </p:nvCxnSpPr>
        <p:spPr bwMode="gray">
          <a:xfrm>
            <a:off x="4152290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3"/>
          <p:cNvCxnSpPr/>
          <p:nvPr/>
        </p:nvCxnSpPr>
        <p:spPr bwMode="gray">
          <a:xfrm>
            <a:off x="7247828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/>
        </p:nvCxnSpPr>
        <p:spPr bwMode="gray">
          <a:xfrm rot="21540000">
            <a:off x="7607146" y="-171394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/>
          <p:cNvSpPr/>
          <p:nvPr/>
        </p:nvSpPr>
        <p:spPr bwMode="gray">
          <a:xfrm>
            <a:off x="552827" y="6343232"/>
            <a:ext cx="719173" cy="34966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fld id="{D5406B15-6818-4DA3-8FF2-A154809E8684}" type="slidenum">
              <a:rPr lang="en-US" sz="2599">
                <a:solidFill>
                  <a:srgbClr val="007D50"/>
                </a:solidFill>
              </a:rPr>
              <a:pPr/>
              <a:t>‹#›</a:t>
            </a:fld>
            <a:endParaRPr lang="en-US" sz="2599" dirty="0">
              <a:solidFill>
                <a:srgbClr val="007D50"/>
              </a:solidFill>
            </a:endParaRPr>
          </a:p>
        </p:txBody>
      </p:sp>
      <p:sp>
        <p:nvSpPr>
          <p:cNvPr id="10" name="Rechteck 9"/>
          <p:cNvSpPr/>
          <p:nvPr/>
        </p:nvSpPr>
        <p:spPr bwMode="gray">
          <a:xfrm>
            <a:off x="1272000" y="6352756"/>
            <a:ext cx="2592407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dirty="0">
                <a:solidFill>
                  <a:srgbClr val="3C3C3C"/>
                </a:solidFill>
              </a:rPr>
              <a:t>Date</a:t>
            </a:r>
          </a:p>
        </p:txBody>
      </p:sp>
      <p:sp>
        <p:nvSpPr>
          <p:cNvPr id="30" name="Rechteck 29"/>
          <p:cNvSpPr/>
          <p:nvPr/>
        </p:nvSpPr>
        <p:spPr bwMode="gray">
          <a:xfrm>
            <a:off x="1272000" y="6453336"/>
            <a:ext cx="6407763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5991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00" dirty="0">
                <a:solidFill>
                  <a:srgbClr val="3C3C3C"/>
                </a:solidFill>
              </a:rPr>
              <a:t>Title of presentation</a:t>
            </a:r>
          </a:p>
        </p:txBody>
      </p:sp>
      <p:pic>
        <p:nvPicPr>
          <p:cNvPr id="1219" name="Picture 195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7290" y="6241647"/>
            <a:ext cx="935756" cy="46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9730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126" rtl="0" eaLnBrk="1" latinLnBrk="0" hangingPunct="1">
        <a:spcBef>
          <a:spcPct val="0"/>
        </a:spcBef>
        <a:buNone/>
        <a:defRPr sz="2799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79946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363429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536414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715748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895081" indent="-179334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899730" indent="-179946" algn="l" defTabSz="914126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Ne8P6mkBHtM" TargetMode="External"/><Relationship Id="rId3" Type="http://schemas.openxmlformats.org/officeDocument/2006/relationships/hyperlink" Target="https://www.youtube.com/watch?v=UQ5KGgzY5Xc" TargetMode="External"/><Relationship Id="rId7" Type="http://schemas.openxmlformats.org/officeDocument/2006/relationships/hyperlink" Target="https://www.youtube.com/watch?v=xaOFgIWSmb0" TargetMode="External"/><Relationship Id="rId12" Type="http://schemas.openxmlformats.org/officeDocument/2006/relationships/hyperlink" Target="https://www.youtube.com/watch?v=YidQmOQoPmc" TargetMode="External"/><Relationship Id="rId2" Type="http://schemas.openxmlformats.org/officeDocument/2006/relationships/hyperlink" Target="https://youtu.be/9vWpJRGU7GI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youtube.com/watch?v=qi86UTk09Cc" TargetMode="External"/><Relationship Id="rId11" Type="http://schemas.openxmlformats.org/officeDocument/2006/relationships/hyperlink" Target="https://www.youtube.com/watch?v=6CyGn9KEs9g" TargetMode="External"/><Relationship Id="rId5" Type="http://schemas.openxmlformats.org/officeDocument/2006/relationships/hyperlink" Target="https://www.youtube.com/watch?v=rQvLz9cE7wE" TargetMode="External"/><Relationship Id="rId10" Type="http://schemas.openxmlformats.org/officeDocument/2006/relationships/hyperlink" Target="https://www.youtube.com/watch?v=5tjOSZvGfcU" TargetMode="External"/><Relationship Id="rId4" Type="http://schemas.openxmlformats.org/officeDocument/2006/relationships/hyperlink" Target="https://www.youtube.com/watch?v=kH-nEmEYcPA" TargetMode="External"/><Relationship Id="rId9" Type="http://schemas.openxmlformats.org/officeDocument/2006/relationships/hyperlink" Target="https://www.youtube.com/watch?v=er2i1EwkxqE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disk.yandex.ru/d/zLGs2eKOBT3QBQ/Filter_5rolik_30s.mp4?w=1" TargetMode="External"/><Relationship Id="rId3" Type="http://schemas.openxmlformats.org/officeDocument/2006/relationships/hyperlink" Target="https://disk.yandex.ru/d/zLGs2eKOBT3QBQ/Filter_2rolik_30s.mp4?w=1" TargetMode="External"/><Relationship Id="rId7" Type="http://schemas.openxmlformats.org/officeDocument/2006/relationships/hyperlink" Target="https://disk.yandex.ru/d/zLGs2eKOBT3QBQ/Filter_5rolik_Full.mp4?w=1" TargetMode="External"/><Relationship Id="rId12" Type="http://schemas.openxmlformats.org/officeDocument/2006/relationships/hyperlink" Target="https://disk.yandex.ru/d/zLGs2eKOBT3QBQ/Filter_4rolik_6s.mp4?w=1" TargetMode="External"/><Relationship Id="rId2" Type="http://schemas.openxmlformats.org/officeDocument/2006/relationships/hyperlink" Target="https://disk.yandex.ru/d/zLGs2eKOBT3QBQ/Filter_1rolik_30s_300920_2.mp4?w=1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disk.yandex.ru/d/zLGs2eKOBT3QBQ/Filter_3rolik_45s.mp4?w=1" TargetMode="External"/><Relationship Id="rId11" Type="http://schemas.openxmlformats.org/officeDocument/2006/relationships/hyperlink" Target="https://disk.yandex.ru/d/zLGs2eKOBT3QBQ/Filter_4rolik_30s.mp4?w=1" TargetMode="External"/><Relationship Id="rId5" Type="http://schemas.openxmlformats.org/officeDocument/2006/relationships/hyperlink" Target="https://disk.yandex.ru/d/zLGs2eKOBT3QBQ/Filter_3rolik_Full.mp4?w=1" TargetMode="External"/><Relationship Id="rId10" Type="http://schemas.openxmlformats.org/officeDocument/2006/relationships/hyperlink" Target="https://disk.yandex.ru/d/zLGs2eKOBT3QBQ/Filter_4rolik_Full.mp4?w=1" TargetMode="External"/><Relationship Id="rId4" Type="http://schemas.openxmlformats.org/officeDocument/2006/relationships/hyperlink" Target="https://disk.yandex.ru/d/zLGs2eKOBT3QBQ/Filter_6rolik_45s.mp4?w=1" TargetMode="External"/><Relationship Id="rId9" Type="http://schemas.openxmlformats.org/officeDocument/2006/relationships/hyperlink" Target="https://disk.yandex.ru/d/zLGs2eKOBT3QBQ/Filter_5rolik_6s.mp4?w=1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 bwMode="gray">
          <a:xfrm>
            <a:off x="4594120" y="2604654"/>
            <a:ext cx="5205662" cy="1217868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noAutofit/>
          </a:bodyPr>
          <a:lstStyle>
            <a:lvl1pPr algn="l" defTabSz="914126" rtl="0" eaLnBrk="1" latinLnBrk="0" hangingPunct="1">
              <a:spcBef>
                <a:spcPct val="0"/>
              </a:spcBef>
              <a:buNone/>
              <a:defRPr sz="3199" b="1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Новые локальные </a:t>
            </a:r>
          </a:p>
          <a:p>
            <a:r>
              <a:rPr lang="ru-RU" dirty="0" smtClean="0"/>
              <a:t>видео-материалы </a:t>
            </a:r>
          </a:p>
          <a:p>
            <a:r>
              <a:rPr lang="en-US" dirty="0" smtClean="0"/>
              <a:t>MANN-FILTER</a:t>
            </a:r>
            <a:r>
              <a:rPr lang="ru-RU" dirty="0" smtClean="0"/>
              <a:t>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307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/>
              <a:t>Просмотр видеороликов</a:t>
            </a:r>
            <a:endParaRPr lang="en-US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сылки на локальные видео 2020</a:t>
            </a:r>
            <a:endParaRPr lang="en-US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4"/>
          </p:nvPr>
        </p:nvSpPr>
        <p:spPr>
          <a:xfrm>
            <a:off x="551693" y="1302976"/>
            <a:ext cx="10293319" cy="4249141"/>
          </a:xfrm>
        </p:spPr>
        <p:txBody>
          <a:bodyPr/>
          <a:lstStyle/>
          <a:p>
            <a:pPr marL="0" indent="0">
              <a:buNone/>
            </a:pPr>
            <a:r>
              <a:rPr lang="ru-RU" dirty="0" smtClean="0"/>
              <a:t>Нажать на ссылке правую кнопку мышки, а затем в выпадающем списке – выбрать функцию «открыть гиперссылку», и начнется просмотр данного видеоролика в </a:t>
            </a:r>
            <a:r>
              <a:rPr lang="en-US" dirty="0" smtClean="0"/>
              <a:t>YouTube.</a:t>
            </a:r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/>
          <a:srcRect b="4023"/>
          <a:stretch/>
        </p:blipFill>
        <p:spPr>
          <a:xfrm>
            <a:off x="551693" y="1949934"/>
            <a:ext cx="3555421" cy="3906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3897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51695" y="332657"/>
            <a:ext cx="10296044" cy="430759"/>
          </a:xfrm>
        </p:spPr>
        <p:txBody>
          <a:bodyPr/>
          <a:lstStyle/>
          <a:p>
            <a:r>
              <a:rPr lang="ru-RU" dirty="0" smtClean="0"/>
              <a:t>Ссылки на локальные видео </a:t>
            </a:r>
            <a:r>
              <a:rPr lang="ru-RU" u="sng" dirty="0" smtClean="0"/>
              <a:t>для просмотра</a:t>
            </a:r>
            <a:endParaRPr lang="en-US" u="sng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51695" y="1133079"/>
            <a:ext cx="5396523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Салонный фильтр </a:t>
            </a:r>
            <a:r>
              <a:rPr lang="en-US" sz="1400" b="1" dirty="0" err="1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FreciousPlus</a:t>
            </a:r>
            <a:endParaRPr lang="ru-RU" sz="1400" b="1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30сек.</a:t>
            </a:r>
            <a:endParaRPr lang="en-US" sz="1400" b="1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r>
              <a:rPr lang="en-US" sz="1400" u="sng" dirty="0">
                <a:hlinkClick r:id="rId2"/>
              </a:rPr>
              <a:t>https://youtu.be/9vWpJRGU7GI</a:t>
            </a:r>
            <a:endParaRPr lang="en-US" sz="1400" dirty="0"/>
          </a:p>
          <a:p>
            <a:pPr>
              <a:spcAft>
                <a:spcPts val="0"/>
              </a:spcAft>
            </a:pPr>
            <a:r>
              <a:rPr lang="en-US" sz="14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ru-RU" sz="1400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Салонный </a:t>
            </a:r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фильтр </a:t>
            </a:r>
            <a:r>
              <a:rPr lang="ru-RU" sz="1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- общий</a:t>
            </a:r>
          </a:p>
          <a:p>
            <a:pPr>
              <a:spcAft>
                <a:spcPts val="0"/>
              </a:spcAft>
            </a:pPr>
            <a:r>
              <a:rPr lang="ru-RU" sz="1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30сек.</a:t>
            </a:r>
            <a:endParaRPr lang="en-US" sz="1400" b="1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1400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3"/>
              </a:rPr>
              <a:t>https://</a:t>
            </a:r>
            <a:r>
              <a:rPr lang="en-US" sz="1400" u="sng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3"/>
              </a:rPr>
              <a:t>www.youtube.com/watch?v=UQ5KGgzY5Xc</a:t>
            </a:r>
            <a:endParaRPr lang="ru-RU" sz="1400" u="sng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ru-RU" sz="1400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Воздушный фильтр </a:t>
            </a:r>
            <a:r>
              <a:rPr lang="ru-RU" sz="1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(выбирайте качественный воздушный …)</a:t>
            </a:r>
          </a:p>
          <a:p>
            <a:r>
              <a:rPr lang="ru-RU" sz="1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45 сек.</a:t>
            </a:r>
            <a:endParaRPr lang="ru-RU" sz="1400" b="1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sz="1400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4"/>
              </a:rPr>
              <a:t>https://www.youtube.com/watch?v=kH-nEmEYcPA</a:t>
            </a:r>
            <a:endParaRPr lang="ru-RU" sz="1400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ru-RU" sz="1400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Воздушный </a:t>
            </a:r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фильтр (говорили бери </a:t>
            </a:r>
            <a:r>
              <a:rPr lang="en-US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MANN-FILTER</a:t>
            </a:r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…)</a:t>
            </a:r>
          </a:p>
          <a:p>
            <a:pPr>
              <a:spcAft>
                <a:spcPts val="0"/>
              </a:spcAft>
            </a:pPr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50 сек.</a:t>
            </a:r>
            <a:endParaRPr lang="en-US" sz="1400" b="1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1400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5"/>
              </a:rPr>
              <a:t>https://www.youtube.com/watch?v=rQvLz9cE7wE</a:t>
            </a:r>
            <a:endParaRPr lang="ru-RU" sz="1400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45 сек.</a:t>
            </a:r>
          </a:p>
          <a:p>
            <a:pPr>
              <a:spcAft>
                <a:spcPts val="0"/>
              </a:spcAft>
            </a:pPr>
            <a:r>
              <a:rPr lang="en-US" sz="14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6"/>
              </a:rPr>
              <a:t>https://www.youtube.com/watch?v=qi86UTk09Cc</a:t>
            </a:r>
            <a:endParaRPr lang="ru-RU" sz="1400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endParaRPr lang="en-US" sz="1400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endParaRPr lang="en-US" sz="1400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endParaRPr lang="en-US" sz="1400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endParaRPr lang="en-US" sz="1400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en-US" sz="14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699717" y="1133079"/>
            <a:ext cx="6096000" cy="418576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ts val="0"/>
              </a:spcAft>
            </a:pPr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Масляный фильтр (порадуй свою машину</a:t>
            </a:r>
            <a:r>
              <a:rPr lang="ru-RU" sz="1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)</a:t>
            </a:r>
            <a:endParaRPr lang="en-US" sz="1400" b="1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37 </a:t>
            </a:r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сек.</a:t>
            </a:r>
            <a:endParaRPr lang="en-US" sz="1400" b="1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1400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7"/>
              </a:rPr>
              <a:t>https://</a:t>
            </a:r>
            <a:r>
              <a:rPr lang="en-US" sz="1400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7"/>
              </a:rPr>
              <a:t>www.youtube.com/watch?v=xaOFgIWSmb0</a:t>
            </a:r>
            <a:endParaRPr lang="ru-RU" sz="1400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30 сек.</a:t>
            </a:r>
          </a:p>
          <a:p>
            <a:pPr>
              <a:spcAft>
                <a:spcPts val="0"/>
              </a:spcAft>
            </a:pPr>
            <a:r>
              <a:rPr lang="en-US" sz="1400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8"/>
              </a:rPr>
              <a:t>https://</a:t>
            </a:r>
            <a:r>
              <a:rPr lang="en-US" sz="1400" u="sng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8"/>
              </a:rPr>
              <a:t>www.youtube.com/watch?v=Ne8P6mkBHtM</a:t>
            </a:r>
            <a:endParaRPr lang="ru-RU" sz="1400" u="sng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6 сек.</a:t>
            </a:r>
          </a:p>
          <a:p>
            <a:pPr>
              <a:spcAft>
                <a:spcPts val="0"/>
              </a:spcAft>
            </a:pPr>
            <a:r>
              <a:rPr lang="en-US" sz="1400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9"/>
              </a:rPr>
              <a:t>https://</a:t>
            </a:r>
            <a:r>
              <a:rPr lang="en-US" sz="1400" u="sng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9"/>
              </a:rPr>
              <a:t>www.youtube.com/watch?v=er2i1EwkxqE</a:t>
            </a:r>
            <a:endParaRPr lang="ru-RU" sz="1400" u="sng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endParaRPr lang="ru-RU" sz="1400" u="sng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endParaRPr lang="ru-RU" sz="1400" u="sng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Воздушный фильтр (порадуй свою машину)</a:t>
            </a:r>
          </a:p>
          <a:p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34 сек.</a:t>
            </a:r>
            <a:endParaRPr lang="en-US" sz="1400" b="1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1400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10"/>
              </a:rPr>
              <a:t>https://www.youtube.com/watch?v=5tjOSZvGfcU</a:t>
            </a:r>
            <a:endParaRPr lang="ru-RU" sz="1400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 30 сек.</a:t>
            </a:r>
          </a:p>
          <a:p>
            <a:r>
              <a:rPr lang="en-US" sz="1400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11"/>
              </a:rPr>
              <a:t>https://www.youtube.com/watch?v=6CyGn9KEs9g</a:t>
            </a:r>
            <a:endParaRPr lang="ru-RU" sz="1400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ru-RU" sz="14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6 сек.</a:t>
            </a:r>
          </a:p>
          <a:p>
            <a:r>
              <a:rPr lang="en-US" sz="1400" dirty="0">
                <a:latin typeface="Times New Roman" panose="02020603050405020304" pitchFamily="18" charset="0"/>
                <a:ea typeface="Calibri" panose="020F0502020204030204" pitchFamily="34" charset="0"/>
                <a:hlinkClick r:id="rId12"/>
              </a:rPr>
              <a:t>https://www.youtube.com/watch?v=YidQmOQoPmc</a:t>
            </a:r>
            <a:endParaRPr lang="ru-RU" sz="1400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endParaRPr lang="ru-RU" sz="1400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ru-RU" sz="1400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sz="1400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93589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51695" y="332657"/>
            <a:ext cx="11528688" cy="430759"/>
          </a:xfrm>
        </p:spPr>
        <p:txBody>
          <a:bodyPr/>
          <a:lstStyle/>
          <a:p>
            <a:r>
              <a:rPr lang="ru-RU" dirty="0" smtClean="0"/>
              <a:t>Ссылки на локальные видео </a:t>
            </a:r>
            <a:r>
              <a:rPr lang="ru-RU" u="sng" dirty="0" smtClean="0"/>
              <a:t>для скачивания с Яндекс диск</a:t>
            </a:r>
            <a:endParaRPr lang="en-US" u="sng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51695" y="1184594"/>
            <a:ext cx="5396523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Салонный фильтр </a:t>
            </a:r>
            <a:r>
              <a:rPr lang="en-US" sz="1400" b="1" dirty="0" err="1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FreciousPlus</a:t>
            </a:r>
            <a:endParaRPr lang="ru-RU" sz="1400" b="1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30сек.</a:t>
            </a:r>
            <a:endParaRPr lang="en-US" sz="1400" b="1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r>
              <a:rPr lang="en-US" sz="1400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https://disk.yandex.ru/d/zLGs2eKOBT3QBQ/Filter_1rolik_30s_300920_2.mp4?w=1</a:t>
            </a:r>
            <a:endParaRPr lang="en-US" sz="1400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14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ru-RU" sz="1400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Салонный </a:t>
            </a:r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фильтр </a:t>
            </a:r>
            <a:r>
              <a:rPr lang="ru-RU" sz="1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- общий</a:t>
            </a:r>
          </a:p>
          <a:p>
            <a:pPr>
              <a:spcAft>
                <a:spcPts val="0"/>
              </a:spcAft>
            </a:pPr>
            <a:r>
              <a:rPr lang="ru-RU" sz="1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30сек.</a:t>
            </a:r>
            <a:endParaRPr lang="en-US" sz="1400" b="1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1400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3"/>
              </a:rPr>
              <a:t>https://</a:t>
            </a:r>
            <a:r>
              <a:rPr lang="en-US" sz="1400" u="sng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3"/>
              </a:rPr>
              <a:t>disk.yandex.ru/d/zLGs2eKOBT3QBQ/Filter_2rolik_30s.mp4?w=1</a:t>
            </a:r>
            <a:endParaRPr lang="ru-RU" sz="1400" u="sng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ru-RU" sz="1400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Воздушный фильтр </a:t>
            </a:r>
            <a:r>
              <a:rPr lang="ru-RU" sz="1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(выбирайте качественный воздушный …)</a:t>
            </a:r>
          </a:p>
          <a:p>
            <a:r>
              <a:rPr lang="ru-RU" sz="1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45 сек.</a:t>
            </a:r>
            <a:endParaRPr lang="ru-RU" sz="1400" b="1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sz="1400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4"/>
              </a:rPr>
              <a:t>https://disk.yandex.ru/d/zLGs2eKOBT3QBQ/Filter_6rolik_45s.mp4?w=1</a:t>
            </a:r>
            <a:endParaRPr lang="ru-RU" sz="1400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ru-RU" sz="1400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Воздушный </a:t>
            </a:r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фильтр (говорили бери </a:t>
            </a:r>
            <a:r>
              <a:rPr lang="en-US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MANN-FILTER</a:t>
            </a:r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…)</a:t>
            </a:r>
          </a:p>
          <a:p>
            <a:pPr>
              <a:spcAft>
                <a:spcPts val="0"/>
              </a:spcAft>
            </a:pPr>
            <a:r>
              <a:rPr lang="ru-RU" sz="1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50 сек.</a:t>
            </a:r>
            <a:endParaRPr lang="en-US" sz="1400" b="1" dirty="0" smtClean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1400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5"/>
              </a:rPr>
              <a:t>https://</a:t>
            </a:r>
            <a:r>
              <a:rPr lang="en-US" sz="1400" u="sng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5"/>
              </a:rPr>
              <a:t>disk.yandex.ru/d/zLGs2eKOBT3QBQ/Filter_3rolik_Full.mp4?w=1</a:t>
            </a:r>
            <a:endParaRPr lang="ru-RU" sz="1400" u="sng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45 сек.</a:t>
            </a:r>
          </a:p>
          <a:p>
            <a:pPr>
              <a:spcAft>
                <a:spcPts val="0"/>
              </a:spcAft>
            </a:pPr>
            <a:r>
              <a:rPr lang="en-US" sz="1400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6"/>
              </a:rPr>
              <a:t>https</a:t>
            </a:r>
            <a:r>
              <a:rPr lang="en-US" sz="14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6"/>
              </a:rPr>
              <a:t>://</a:t>
            </a:r>
            <a:r>
              <a:rPr lang="en-US" sz="1400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6"/>
              </a:rPr>
              <a:t>disk.yandex.ru/d/zLGs2eKOBT3QBQ/Filter_3rolik_45s.mp4?w=1</a:t>
            </a:r>
            <a:endParaRPr lang="ru-RU" sz="1400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endParaRPr lang="en-US" sz="1400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ru-RU" sz="1400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endParaRPr lang="en-US" sz="1400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endParaRPr lang="en-US" sz="1400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endParaRPr lang="en-US" sz="1400" dirty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en-US" sz="14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984383" y="1184594"/>
            <a:ext cx="6096000" cy="418576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ts val="0"/>
              </a:spcAft>
            </a:pPr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Масляный фильтр (порадуй свою машину</a:t>
            </a:r>
            <a:r>
              <a:rPr lang="ru-RU" sz="1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)</a:t>
            </a:r>
            <a:endParaRPr lang="en-US" sz="1400" b="1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37 </a:t>
            </a:r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сек.</a:t>
            </a:r>
            <a:endParaRPr lang="en-US" sz="1400" b="1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1400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7"/>
              </a:rPr>
              <a:t>https://</a:t>
            </a:r>
            <a:r>
              <a:rPr lang="en-US" sz="1400" u="sng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7"/>
              </a:rPr>
              <a:t>disk.yandex.ru/d/zLGs2eKOBT3QBQ/Filter_5rolik_Full.mp4?w=1</a:t>
            </a:r>
            <a:endParaRPr lang="ru-RU" sz="1400" u="sng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30 </a:t>
            </a:r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сек.</a:t>
            </a:r>
          </a:p>
          <a:p>
            <a:r>
              <a:rPr lang="en-US" sz="1400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8"/>
              </a:rPr>
              <a:t>https://disk.yandex.ru/d/zLGs2eKOBT3QBQ/Filter_5rolik_30s.mp4?w=1</a:t>
            </a:r>
            <a:endParaRPr lang="en-US" sz="1400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b="1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6 </a:t>
            </a:r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сек.</a:t>
            </a:r>
          </a:p>
          <a:p>
            <a:pPr>
              <a:spcAft>
                <a:spcPts val="0"/>
              </a:spcAft>
            </a:pPr>
            <a:r>
              <a:rPr lang="en-US" sz="1400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9"/>
              </a:rPr>
              <a:t>https://</a:t>
            </a:r>
            <a:r>
              <a:rPr lang="en-US" sz="1400" u="sng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9"/>
              </a:rPr>
              <a:t>disk.yandex.ru/d/zLGs2eKOBT3QBQ/Filter_5rolik_6s.mp4?w=1</a:t>
            </a:r>
            <a:endParaRPr lang="ru-RU" sz="1400" u="sng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endParaRPr lang="ru-RU" sz="1400" u="sng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endParaRPr lang="ru-RU" sz="1400" u="sng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Воздушный фильтр (порадуй свою машину)</a:t>
            </a:r>
          </a:p>
          <a:p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34 сек.</a:t>
            </a:r>
            <a:endParaRPr lang="en-US" sz="1400" b="1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1400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10"/>
              </a:rPr>
              <a:t>https://</a:t>
            </a:r>
            <a:r>
              <a:rPr lang="en-US" sz="1400" u="sng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10"/>
              </a:rPr>
              <a:t>disk.yandex.ru/d/zLGs2eKOBT3QBQ/Filter_4rolik_Full.mp4?w=1</a:t>
            </a:r>
            <a:endParaRPr lang="ru-RU" sz="1400" u="sng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 30 сек.</a:t>
            </a:r>
          </a:p>
          <a:p>
            <a:r>
              <a:rPr lang="en-US" sz="1400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11"/>
              </a:rPr>
              <a:t>https://</a:t>
            </a:r>
            <a:r>
              <a:rPr lang="en-US" sz="1400" u="sng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11"/>
              </a:rPr>
              <a:t>disk.yandex.ru/d/zLGs2eKOBT3QBQ/Filter_4rolik_30s.mp4?w=1</a:t>
            </a:r>
            <a:endParaRPr lang="ru-RU" sz="1400" u="sng" dirty="0" smtClean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ru-RU" sz="1400" dirty="0" smtClean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ru-RU" sz="1400" b="1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6 сек.</a:t>
            </a:r>
          </a:p>
          <a:p>
            <a:r>
              <a:rPr lang="en-US" sz="1400" dirty="0">
                <a:latin typeface="Times New Roman" panose="02020603050405020304" pitchFamily="18" charset="0"/>
                <a:ea typeface="Calibri" panose="020F0502020204030204" pitchFamily="34" charset="0"/>
                <a:hlinkClick r:id="rId12"/>
              </a:rPr>
              <a:t>https://</a:t>
            </a:r>
            <a:r>
              <a:rPr lang="en-US" sz="1400" dirty="0" smtClean="0">
                <a:latin typeface="Times New Roman" panose="02020603050405020304" pitchFamily="18" charset="0"/>
                <a:ea typeface="Calibri" panose="020F0502020204030204" pitchFamily="34" charset="0"/>
                <a:hlinkClick r:id="rId12"/>
              </a:rPr>
              <a:t>disk.yandex.ru/d/zLGs2eKOBT3QBQ/Filter_4rolik_6s.mp4?w=1</a:t>
            </a:r>
            <a:endParaRPr lang="ru-RU" sz="1400" dirty="0" smtClean="0"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endParaRPr lang="ru-RU" sz="1400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ru-RU" sz="1400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en-US" sz="1400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6265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ru-RU" dirty="0" smtClean="0"/>
              <a:t>Отдел маркетинга </a:t>
            </a:r>
            <a:r>
              <a:rPr lang="ru-RU" dirty="0" smtClean="0"/>
              <a:t>2020 г.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248225" y="2655455"/>
            <a:ext cx="4290183" cy="406276"/>
          </a:xfrm>
        </p:spPr>
        <p:txBody>
          <a:bodyPr/>
          <a:lstStyle/>
          <a:p>
            <a:r>
              <a:rPr lang="ru-RU" dirty="0" smtClean="0"/>
              <a:t>Спасибо за внимание!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7375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MF440e2a-65d1-4e20-818f-d629338d74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NN-FILTER">
  <a:themeElements>
    <a:clrScheme name="Mann Filter">
      <a:dk1>
        <a:srgbClr val="3C3C3C"/>
      </a:dk1>
      <a:lt1>
        <a:sysClr val="window" lastClr="FFFFFF"/>
      </a:lt1>
      <a:dk2>
        <a:srgbClr val="FFF000"/>
      </a:dk2>
      <a:lt2>
        <a:srgbClr val="E0E0E0"/>
      </a:lt2>
      <a:accent1>
        <a:srgbClr val="007D50"/>
      </a:accent1>
      <a:accent2>
        <a:srgbClr val="007D50"/>
      </a:accent2>
      <a:accent3>
        <a:srgbClr val="00A0E6"/>
      </a:accent3>
      <a:accent4>
        <a:srgbClr val="00648C"/>
      </a:accent4>
      <a:accent5>
        <a:srgbClr val="78B41E"/>
      </a:accent5>
      <a:accent6>
        <a:srgbClr val="9B9B9B"/>
      </a:accent6>
      <a:hlink>
        <a:srgbClr val="007D50"/>
      </a:hlink>
      <a:folHlink>
        <a:srgbClr val="007D50"/>
      </a:folHlink>
    </a:clrScheme>
    <a:fontScheme name="Sonep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 w="635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indent="-180000">
          <a:buClr>
            <a:schemeClr val="accent2"/>
          </a:buClr>
          <a:buFont typeface="Wingdings" panose="05000000000000000000" pitchFamily="2" charset="2"/>
          <a:buChar char="§"/>
          <a:defRPr sz="18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5</Words>
  <Application>Microsoft Office PowerPoint</Application>
  <PresentationFormat>Широкоэкранный</PresentationFormat>
  <Paragraphs>89</Paragraphs>
  <Slides>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1" baseType="lpstr">
      <vt:lpstr>Arial</vt:lpstr>
      <vt:lpstr>Calibri</vt:lpstr>
      <vt:lpstr>Times New Roman</vt:lpstr>
      <vt:lpstr>Wingdings</vt:lpstr>
      <vt:lpstr>MANN-FILTER</vt:lpstr>
      <vt:lpstr>think-cell Folie</vt:lpstr>
      <vt:lpstr>Презентация PowerPoint</vt:lpstr>
      <vt:lpstr>Ссылки на локальные видео 2020</vt:lpstr>
      <vt:lpstr>Ссылки на локальные видео для просмотра</vt:lpstr>
      <vt:lpstr>Ссылки на локальные видео для скачивания с Яндекс диск</vt:lpstr>
      <vt:lpstr>Презентация PowerPoint</vt:lpstr>
    </vt:vector>
  </TitlesOfParts>
  <Company>MANN+HUMMEL Gmb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Radchinskaya, Anna</dc:creator>
  <cp:lastModifiedBy>Radchinskaya, Anna</cp:lastModifiedBy>
  <cp:revision>166</cp:revision>
  <dcterms:created xsi:type="dcterms:W3CDTF">2019-05-20T10:53:48Z</dcterms:created>
  <dcterms:modified xsi:type="dcterms:W3CDTF">2020-10-05T09:04:50Z</dcterms:modified>
</cp:coreProperties>
</file>